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09"/>
  </p:notesMasterIdLst>
  <p:handoutMasterIdLst>
    <p:handoutMasterId r:id="rId110"/>
  </p:handoutMasterIdLst>
  <p:sldIdLst>
    <p:sldId id="368" r:id="rId33"/>
    <p:sldId id="445" r:id="rId34"/>
    <p:sldId id="443" r:id="rId35"/>
    <p:sldId id="369" r:id="rId36"/>
    <p:sldId id="373" r:id="rId37"/>
    <p:sldId id="374" r:id="rId38"/>
    <p:sldId id="372" r:id="rId39"/>
    <p:sldId id="428" r:id="rId40"/>
    <p:sldId id="390" r:id="rId41"/>
    <p:sldId id="441" r:id="rId42"/>
    <p:sldId id="442" r:id="rId43"/>
    <p:sldId id="392" r:id="rId44"/>
    <p:sldId id="391" r:id="rId45"/>
    <p:sldId id="393" r:id="rId46"/>
    <p:sldId id="389" r:id="rId47"/>
    <p:sldId id="394" r:id="rId48"/>
    <p:sldId id="395" r:id="rId49"/>
    <p:sldId id="375" r:id="rId50"/>
    <p:sldId id="381" r:id="rId51"/>
    <p:sldId id="376" r:id="rId52"/>
    <p:sldId id="424" r:id="rId53"/>
    <p:sldId id="377" r:id="rId54"/>
    <p:sldId id="396" r:id="rId55"/>
    <p:sldId id="397" r:id="rId56"/>
    <p:sldId id="398" r:id="rId57"/>
    <p:sldId id="399" r:id="rId58"/>
    <p:sldId id="378" r:id="rId59"/>
    <p:sldId id="379" r:id="rId60"/>
    <p:sldId id="380" r:id="rId61"/>
    <p:sldId id="383" r:id="rId62"/>
    <p:sldId id="401" r:id="rId63"/>
    <p:sldId id="402" r:id="rId64"/>
    <p:sldId id="385" r:id="rId65"/>
    <p:sldId id="386" r:id="rId66"/>
    <p:sldId id="417" r:id="rId67"/>
    <p:sldId id="387" r:id="rId68"/>
    <p:sldId id="452" r:id="rId69"/>
    <p:sldId id="450" r:id="rId70"/>
    <p:sldId id="451" r:id="rId71"/>
    <p:sldId id="429" r:id="rId72"/>
    <p:sldId id="404" r:id="rId73"/>
    <p:sldId id="406" r:id="rId74"/>
    <p:sldId id="405" r:id="rId75"/>
    <p:sldId id="427" r:id="rId76"/>
    <p:sldId id="425" r:id="rId77"/>
    <p:sldId id="426" r:id="rId78"/>
    <p:sldId id="418" r:id="rId79"/>
    <p:sldId id="407" r:id="rId80"/>
    <p:sldId id="408" r:id="rId81"/>
    <p:sldId id="419" r:id="rId82"/>
    <p:sldId id="420" r:id="rId83"/>
    <p:sldId id="421" r:id="rId84"/>
    <p:sldId id="444" r:id="rId85"/>
    <p:sldId id="423" r:id="rId86"/>
    <p:sldId id="453" r:id="rId87"/>
    <p:sldId id="430" r:id="rId88"/>
    <p:sldId id="431" r:id="rId89"/>
    <p:sldId id="432" r:id="rId90"/>
    <p:sldId id="433" r:id="rId91"/>
    <p:sldId id="434" r:id="rId92"/>
    <p:sldId id="435" r:id="rId93"/>
    <p:sldId id="436" r:id="rId94"/>
    <p:sldId id="437" r:id="rId95"/>
    <p:sldId id="438" r:id="rId96"/>
    <p:sldId id="454" r:id="rId97"/>
    <p:sldId id="409" r:id="rId98"/>
    <p:sldId id="446" r:id="rId99"/>
    <p:sldId id="447" r:id="rId100"/>
    <p:sldId id="400" r:id="rId101"/>
    <p:sldId id="384" r:id="rId102"/>
    <p:sldId id="448" r:id="rId103"/>
    <p:sldId id="449" r:id="rId104"/>
    <p:sldId id="440" r:id="rId105"/>
    <p:sldId id="382" r:id="rId106"/>
    <p:sldId id="410" r:id="rId107"/>
    <p:sldId id="371" r:id="rId108"/>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009259-31F4-4A16-A867-4813AC176050}" v="623" dt="2018-06-10T18:21:19.3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391" autoAdjust="0"/>
    <p:restoredTop sz="80029" autoAdjust="0"/>
  </p:normalViewPr>
  <p:slideViewPr>
    <p:cSldViewPr snapToGrid="0">
      <p:cViewPr varScale="1">
        <p:scale>
          <a:sx n="112" d="100"/>
          <a:sy n="112" d="100"/>
        </p:scale>
        <p:origin x="270" y="114"/>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microsoft.com/office/2015/10/relationships/revisionInfo" Target="revisionInfo.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viewProps" Target="viewProps.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7.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notesMaster" Target="notesMasters/notesMaster1.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handoutMaster" Target="handoutMasters/handoutMaster1.xml"/><Relationship Id="rId115" Type="http://schemas.openxmlformats.org/officeDocument/2006/relationships/tableStyles" Target="tableStyles.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 Id="rId116" Type="http://schemas.microsoft.com/office/2016/11/relationships/changesInfo" Target="changesInfos/changesInfo1.xml"/><Relationship Id="rId20" Type="http://schemas.openxmlformats.org/officeDocument/2006/relationships/slideMaster" Target="slideMasters/slideMaster20.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commentAuthors" Target="commentAuthors.xml"/><Relationship Id="rId15" Type="http://schemas.openxmlformats.org/officeDocument/2006/relationships/slideMaster" Target="slideMasters/slideMaster15.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Ferrari" userId="9b4c5a7a-5dfd-428e-8f07-54940faad3bc" providerId="ADAL" clId="{28009259-31F4-4A16-A867-4813AC176050}"/>
    <pc:docChg chg="undo custSel addSld delSld modSld sldOrd">
      <pc:chgData name="John Ferrari" userId="9b4c5a7a-5dfd-428e-8f07-54940faad3bc" providerId="ADAL" clId="{28009259-31F4-4A16-A867-4813AC176050}" dt="2018-06-10T18:21:19.391" v="614"/>
      <pc:docMkLst>
        <pc:docMk/>
      </pc:docMkLst>
      <pc:sldChg chg="add del">
        <pc:chgData name="John Ferrari" userId="9b4c5a7a-5dfd-428e-8f07-54940faad3bc" providerId="ADAL" clId="{28009259-31F4-4A16-A867-4813AC176050}" dt="2018-06-10T17:54:39.381" v="113" actId="2696"/>
        <pc:sldMkLst>
          <pc:docMk/>
          <pc:sldMk cId="600292979" sldId="388"/>
        </pc:sldMkLst>
      </pc:sldChg>
      <pc:sldChg chg="modSp ord">
        <pc:chgData name="John Ferrari" userId="9b4c5a7a-5dfd-428e-8f07-54940faad3bc" providerId="ADAL" clId="{28009259-31F4-4A16-A867-4813AC176050}" dt="2018-06-10T18:05:06.110" v="156" actId="20577"/>
        <pc:sldMkLst>
          <pc:docMk/>
          <pc:sldMk cId="1035246335" sldId="409"/>
        </pc:sldMkLst>
        <pc:spChg chg="mod">
          <ac:chgData name="John Ferrari" userId="9b4c5a7a-5dfd-428e-8f07-54940faad3bc" providerId="ADAL" clId="{28009259-31F4-4A16-A867-4813AC176050}" dt="2018-06-10T18:05:06.110" v="156" actId="20577"/>
          <ac:spMkLst>
            <pc:docMk/>
            <pc:sldMk cId="1035246335" sldId="409"/>
            <ac:spMk id="4" creationId="{E07A14BA-BF2B-4DB4-8A4E-EFEC29CFB75E}"/>
          </ac:spMkLst>
        </pc:spChg>
      </pc:sldChg>
      <pc:sldChg chg="modSp">
        <pc:chgData name="John Ferrari" userId="9b4c5a7a-5dfd-428e-8f07-54940faad3bc" providerId="ADAL" clId="{28009259-31F4-4A16-A867-4813AC176050}" dt="2018-06-10T18:20:55.599" v="607" actId="20577"/>
        <pc:sldMkLst>
          <pc:docMk/>
          <pc:sldMk cId="2046613824" sldId="430"/>
        </pc:sldMkLst>
        <pc:spChg chg="mod">
          <ac:chgData name="John Ferrari" userId="9b4c5a7a-5dfd-428e-8f07-54940faad3bc" providerId="ADAL" clId="{28009259-31F4-4A16-A867-4813AC176050}" dt="2018-06-10T18:20:55.599" v="607" actId="20577"/>
          <ac:spMkLst>
            <pc:docMk/>
            <pc:sldMk cId="2046613824" sldId="430"/>
            <ac:spMk id="8" creationId="{DC9F77E9-FFB6-491C-9B3E-033FCBF5F57D}"/>
          </ac:spMkLst>
        </pc:spChg>
      </pc:sldChg>
      <pc:sldChg chg="modSp">
        <pc:chgData name="John Ferrari" userId="9b4c5a7a-5dfd-428e-8f07-54940faad3bc" providerId="ADAL" clId="{28009259-31F4-4A16-A867-4813AC176050}" dt="2018-06-10T18:21:02.973" v="608"/>
        <pc:sldMkLst>
          <pc:docMk/>
          <pc:sldMk cId="4142418584" sldId="431"/>
        </pc:sldMkLst>
        <pc:spChg chg="mod">
          <ac:chgData name="John Ferrari" userId="9b4c5a7a-5dfd-428e-8f07-54940faad3bc" providerId="ADAL" clId="{28009259-31F4-4A16-A867-4813AC176050}" dt="2018-06-10T18:21:02.973" v="608"/>
          <ac:spMkLst>
            <pc:docMk/>
            <pc:sldMk cId="4142418584" sldId="431"/>
            <ac:spMk id="16" creationId="{5A95D368-4321-473C-96A6-AB540F8EBD50}"/>
          </ac:spMkLst>
        </pc:spChg>
      </pc:sldChg>
      <pc:sldChg chg="modSp">
        <pc:chgData name="John Ferrari" userId="9b4c5a7a-5dfd-428e-8f07-54940faad3bc" providerId="ADAL" clId="{28009259-31F4-4A16-A867-4813AC176050}" dt="2018-06-10T18:21:05.211" v="609"/>
        <pc:sldMkLst>
          <pc:docMk/>
          <pc:sldMk cId="2285685201" sldId="432"/>
        </pc:sldMkLst>
        <pc:spChg chg="mod">
          <ac:chgData name="John Ferrari" userId="9b4c5a7a-5dfd-428e-8f07-54940faad3bc" providerId="ADAL" clId="{28009259-31F4-4A16-A867-4813AC176050}" dt="2018-06-10T18:21:05.211" v="609"/>
          <ac:spMkLst>
            <pc:docMk/>
            <pc:sldMk cId="2285685201" sldId="432"/>
            <ac:spMk id="7" creationId="{8100B3C7-264B-4567-A5C1-9EFD96A8594E}"/>
          </ac:spMkLst>
        </pc:spChg>
      </pc:sldChg>
      <pc:sldChg chg="modSp">
        <pc:chgData name="John Ferrari" userId="9b4c5a7a-5dfd-428e-8f07-54940faad3bc" providerId="ADAL" clId="{28009259-31F4-4A16-A867-4813AC176050}" dt="2018-06-10T18:21:07.844" v="610"/>
        <pc:sldMkLst>
          <pc:docMk/>
          <pc:sldMk cId="3847100519" sldId="433"/>
        </pc:sldMkLst>
        <pc:spChg chg="mod">
          <ac:chgData name="John Ferrari" userId="9b4c5a7a-5dfd-428e-8f07-54940faad3bc" providerId="ADAL" clId="{28009259-31F4-4A16-A867-4813AC176050}" dt="2018-06-10T18:21:07.844" v="610"/>
          <ac:spMkLst>
            <pc:docMk/>
            <pc:sldMk cId="3847100519" sldId="433"/>
            <ac:spMk id="52" creationId="{6C34CB21-1D35-4357-B069-6CED431295BD}"/>
          </ac:spMkLst>
        </pc:spChg>
      </pc:sldChg>
      <pc:sldChg chg="modSp">
        <pc:chgData name="John Ferrari" userId="9b4c5a7a-5dfd-428e-8f07-54940faad3bc" providerId="ADAL" clId="{28009259-31F4-4A16-A867-4813AC176050}" dt="2018-06-10T18:21:10.435" v="611"/>
        <pc:sldMkLst>
          <pc:docMk/>
          <pc:sldMk cId="2763078088" sldId="434"/>
        </pc:sldMkLst>
        <pc:spChg chg="mod">
          <ac:chgData name="John Ferrari" userId="9b4c5a7a-5dfd-428e-8f07-54940faad3bc" providerId="ADAL" clId="{28009259-31F4-4A16-A867-4813AC176050}" dt="2018-06-10T18:21:10.435" v="611"/>
          <ac:spMkLst>
            <pc:docMk/>
            <pc:sldMk cId="2763078088" sldId="434"/>
            <ac:spMk id="6" creationId="{A5E0C297-3203-443D-AD71-757C772F657C}"/>
          </ac:spMkLst>
        </pc:spChg>
      </pc:sldChg>
      <pc:sldChg chg="modSp">
        <pc:chgData name="John Ferrari" userId="9b4c5a7a-5dfd-428e-8f07-54940faad3bc" providerId="ADAL" clId="{28009259-31F4-4A16-A867-4813AC176050}" dt="2018-06-10T18:21:14.192" v="612"/>
        <pc:sldMkLst>
          <pc:docMk/>
          <pc:sldMk cId="3802489910" sldId="435"/>
        </pc:sldMkLst>
        <pc:spChg chg="mod">
          <ac:chgData name="John Ferrari" userId="9b4c5a7a-5dfd-428e-8f07-54940faad3bc" providerId="ADAL" clId="{28009259-31F4-4A16-A867-4813AC176050}" dt="2018-06-10T18:21:14.192" v="612"/>
          <ac:spMkLst>
            <pc:docMk/>
            <pc:sldMk cId="3802489910" sldId="435"/>
            <ac:spMk id="73" creationId="{9FF672B7-E18F-437A-8D8D-59432E426DBE}"/>
          </ac:spMkLst>
        </pc:spChg>
      </pc:sldChg>
      <pc:sldChg chg="modSp">
        <pc:chgData name="John Ferrari" userId="9b4c5a7a-5dfd-428e-8f07-54940faad3bc" providerId="ADAL" clId="{28009259-31F4-4A16-A867-4813AC176050}" dt="2018-06-10T18:21:16.129" v="613"/>
        <pc:sldMkLst>
          <pc:docMk/>
          <pc:sldMk cId="1046534582" sldId="436"/>
        </pc:sldMkLst>
        <pc:spChg chg="mod">
          <ac:chgData name="John Ferrari" userId="9b4c5a7a-5dfd-428e-8f07-54940faad3bc" providerId="ADAL" clId="{28009259-31F4-4A16-A867-4813AC176050}" dt="2018-06-10T18:21:16.129" v="613"/>
          <ac:spMkLst>
            <pc:docMk/>
            <pc:sldMk cId="1046534582" sldId="436"/>
            <ac:spMk id="6" creationId="{0BA1EABF-1F61-4D9D-94F2-3378DC7C5D16}"/>
          </ac:spMkLst>
        </pc:spChg>
      </pc:sldChg>
      <pc:sldChg chg="modSp">
        <pc:chgData name="John Ferrari" userId="9b4c5a7a-5dfd-428e-8f07-54940faad3bc" providerId="ADAL" clId="{28009259-31F4-4A16-A867-4813AC176050}" dt="2018-06-10T18:21:19.391" v="614"/>
        <pc:sldMkLst>
          <pc:docMk/>
          <pc:sldMk cId="2013282301" sldId="437"/>
        </pc:sldMkLst>
        <pc:spChg chg="mod">
          <ac:chgData name="John Ferrari" userId="9b4c5a7a-5dfd-428e-8f07-54940faad3bc" providerId="ADAL" clId="{28009259-31F4-4A16-A867-4813AC176050}" dt="2018-06-10T18:21:19.391" v="614"/>
          <ac:spMkLst>
            <pc:docMk/>
            <pc:sldMk cId="2013282301" sldId="437"/>
            <ac:spMk id="6" creationId="{422D676E-CCA3-494D-AB47-B17B6845E28A}"/>
          </ac:spMkLst>
        </pc:spChg>
      </pc:sldChg>
      <pc:sldChg chg="modSp">
        <pc:chgData name="John Ferrari" userId="9b4c5a7a-5dfd-428e-8f07-54940faad3bc" providerId="ADAL" clId="{28009259-31F4-4A16-A867-4813AC176050}" dt="2018-06-10T18:17:30.802" v="576" actId="20577"/>
        <pc:sldMkLst>
          <pc:docMk/>
          <pc:sldMk cId="58684020" sldId="438"/>
        </pc:sldMkLst>
        <pc:spChg chg="mod">
          <ac:chgData name="John Ferrari" userId="9b4c5a7a-5dfd-428e-8f07-54940faad3bc" providerId="ADAL" clId="{28009259-31F4-4A16-A867-4813AC176050}" dt="2018-06-10T18:17:30.802" v="576" actId="20577"/>
          <ac:spMkLst>
            <pc:docMk/>
            <pc:sldMk cId="58684020" sldId="438"/>
            <ac:spMk id="67" creationId="{71D27FFF-0ED0-4D89-8DA9-592DF4550319}"/>
          </ac:spMkLst>
        </pc:spChg>
      </pc:sldChg>
      <pc:sldChg chg="addSp delSp modSp del">
        <pc:chgData name="John Ferrari" userId="9b4c5a7a-5dfd-428e-8f07-54940faad3bc" providerId="ADAL" clId="{28009259-31F4-4A16-A867-4813AC176050}" dt="2018-06-10T18:20:27.891" v="592" actId="2696"/>
        <pc:sldMkLst>
          <pc:docMk/>
          <pc:sldMk cId="2988709343" sldId="439"/>
        </pc:sldMkLst>
        <pc:spChg chg="add del">
          <ac:chgData name="John Ferrari" userId="9b4c5a7a-5dfd-428e-8f07-54940faad3bc" providerId="ADAL" clId="{28009259-31F4-4A16-A867-4813AC176050}" dt="2018-06-10T18:19:17.038" v="585"/>
          <ac:spMkLst>
            <pc:docMk/>
            <pc:sldMk cId="2988709343" sldId="439"/>
            <ac:spMk id="9" creationId="{01A1BEA6-0F0E-4B31-AF7B-243EDD72AE46}"/>
          </ac:spMkLst>
        </pc:spChg>
        <pc:spChg chg="add del">
          <ac:chgData name="John Ferrari" userId="9b4c5a7a-5dfd-428e-8f07-54940faad3bc" providerId="ADAL" clId="{28009259-31F4-4A16-A867-4813AC176050}" dt="2018-06-10T18:19:17.038" v="585"/>
          <ac:spMkLst>
            <pc:docMk/>
            <pc:sldMk cId="2988709343" sldId="439"/>
            <ac:spMk id="10" creationId="{438F644F-F3BF-444D-A126-3C2FBA32E740}"/>
          </ac:spMkLst>
        </pc:spChg>
        <pc:spChg chg="add del">
          <ac:chgData name="John Ferrari" userId="9b4c5a7a-5dfd-428e-8f07-54940faad3bc" providerId="ADAL" clId="{28009259-31F4-4A16-A867-4813AC176050}" dt="2018-06-10T18:19:17.038" v="585"/>
          <ac:spMkLst>
            <pc:docMk/>
            <pc:sldMk cId="2988709343" sldId="439"/>
            <ac:spMk id="11" creationId="{98C1C7ED-45E8-4E9B-A11C-D5B1F0FB4B84}"/>
          </ac:spMkLst>
        </pc:spChg>
        <pc:spChg chg="add del">
          <ac:chgData name="John Ferrari" userId="9b4c5a7a-5dfd-428e-8f07-54940faad3bc" providerId="ADAL" clId="{28009259-31F4-4A16-A867-4813AC176050}" dt="2018-06-10T18:19:17.038" v="585"/>
          <ac:spMkLst>
            <pc:docMk/>
            <pc:sldMk cId="2988709343" sldId="439"/>
            <ac:spMk id="12" creationId="{16322ADF-7A99-42A1-80B9-B685B5803DCF}"/>
          </ac:spMkLst>
        </pc:spChg>
        <pc:spChg chg="add del">
          <ac:chgData name="John Ferrari" userId="9b4c5a7a-5dfd-428e-8f07-54940faad3bc" providerId="ADAL" clId="{28009259-31F4-4A16-A867-4813AC176050}" dt="2018-06-10T18:19:17.038" v="585"/>
          <ac:spMkLst>
            <pc:docMk/>
            <pc:sldMk cId="2988709343" sldId="439"/>
            <ac:spMk id="14" creationId="{14D8E2C3-8D35-40B8-A201-0C3D264F868A}"/>
          </ac:spMkLst>
        </pc:spChg>
        <pc:spChg chg="add del">
          <ac:chgData name="John Ferrari" userId="9b4c5a7a-5dfd-428e-8f07-54940faad3bc" providerId="ADAL" clId="{28009259-31F4-4A16-A867-4813AC176050}" dt="2018-06-10T18:19:17.038" v="585"/>
          <ac:spMkLst>
            <pc:docMk/>
            <pc:sldMk cId="2988709343" sldId="439"/>
            <ac:spMk id="15" creationId="{181AD684-16ED-4D14-8A91-B21AE72F0B11}"/>
          </ac:spMkLst>
        </pc:spChg>
        <pc:spChg chg="add del">
          <ac:chgData name="John Ferrari" userId="9b4c5a7a-5dfd-428e-8f07-54940faad3bc" providerId="ADAL" clId="{28009259-31F4-4A16-A867-4813AC176050}" dt="2018-06-10T18:19:17.038" v="585"/>
          <ac:spMkLst>
            <pc:docMk/>
            <pc:sldMk cId="2988709343" sldId="439"/>
            <ac:spMk id="18" creationId="{E43050DD-95A8-4689-AC54-382DD13CD337}"/>
          </ac:spMkLst>
        </pc:spChg>
        <pc:spChg chg="add del">
          <ac:chgData name="John Ferrari" userId="9b4c5a7a-5dfd-428e-8f07-54940faad3bc" providerId="ADAL" clId="{28009259-31F4-4A16-A867-4813AC176050}" dt="2018-06-10T18:19:17.038" v="585"/>
          <ac:spMkLst>
            <pc:docMk/>
            <pc:sldMk cId="2988709343" sldId="439"/>
            <ac:spMk id="19" creationId="{FF8CD526-2E89-4D82-B2E4-C681F4E0629D}"/>
          </ac:spMkLst>
        </pc:spChg>
        <pc:graphicFrameChg chg="del">
          <ac:chgData name="John Ferrari" userId="9b4c5a7a-5dfd-428e-8f07-54940faad3bc" providerId="ADAL" clId="{28009259-31F4-4A16-A867-4813AC176050}" dt="2018-06-10T18:16:29.728" v="514" actId="478"/>
          <ac:graphicFrameMkLst>
            <pc:docMk/>
            <pc:sldMk cId="2988709343" sldId="439"/>
            <ac:graphicFrameMk id="8" creationId="{B5528947-E36F-40A7-963C-28E2CAF5AAC8}"/>
          </ac:graphicFrameMkLst>
        </pc:graphicFrameChg>
        <pc:picChg chg="add mod">
          <ac:chgData name="John Ferrari" userId="9b4c5a7a-5dfd-428e-8f07-54940faad3bc" providerId="ADAL" clId="{28009259-31F4-4A16-A867-4813AC176050}" dt="2018-06-10T18:19:22.222" v="587" actId="1076"/>
          <ac:picMkLst>
            <pc:docMk/>
            <pc:sldMk cId="2988709343" sldId="439"/>
            <ac:picMk id="2" creationId="{FC39A0D5-26F3-4F57-A408-9F9876389E08}"/>
          </ac:picMkLst>
        </pc:picChg>
        <pc:picChg chg="del">
          <ac:chgData name="John Ferrari" userId="9b4c5a7a-5dfd-428e-8f07-54940faad3bc" providerId="ADAL" clId="{28009259-31F4-4A16-A867-4813AC176050}" dt="2018-06-10T18:16:29.728" v="514" actId="478"/>
          <ac:picMkLst>
            <pc:docMk/>
            <pc:sldMk cId="2988709343" sldId="439"/>
            <ac:picMk id="7" creationId="{7AAA800C-3200-4EDA-8EDC-D3970FC28E20}"/>
          </ac:picMkLst>
        </pc:picChg>
        <pc:picChg chg="add del">
          <ac:chgData name="John Ferrari" userId="9b4c5a7a-5dfd-428e-8f07-54940faad3bc" providerId="ADAL" clId="{28009259-31F4-4A16-A867-4813AC176050}" dt="2018-06-10T18:19:17.038" v="585"/>
          <ac:picMkLst>
            <pc:docMk/>
            <pc:sldMk cId="2988709343" sldId="439"/>
            <ac:picMk id="16" creationId="{2C4D3DA2-B4BD-47FD-8D45-B3836FBA3554}"/>
          </ac:picMkLst>
        </pc:picChg>
        <pc:picChg chg="add del">
          <ac:chgData name="John Ferrari" userId="9b4c5a7a-5dfd-428e-8f07-54940faad3bc" providerId="ADAL" clId="{28009259-31F4-4A16-A867-4813AC176050}" dt="2018-06-10T18:19:17.038" v="585"/>
          <ac:picMkLst>
            <pc:docMk/>
            <pc:sldMk cId="2988709343" sldId="439"/>
            <ac:picMk id="17" creationId="{7E599167-8E64-4D4A-92E0-EFFE7F635E86}"/>
          </ac:picMkLst>
        </pc:picChg>
        <pc:cxnChg chg="add del">
          <ac:chgData name="John Ferrari" userId="9b4c5a7a-5dfd-428e-8f07-54940faad3bc" providerId="ADAL" clId="{28009259-31F4-4A16-A867-4813AC176050}" dt="2018-06-10T18:19:17.038" v="585"/>
          <ac:cxnSpMkLst>
            <pc:docMk/>
            <pc:sldMk cId="2988709343" sldId="439"/>
            <ac:cxnSpMk id="5" creationId="{D2A83868-0817-4C2F-B960-EB4D1DA02B9B}"/>
          </ac:cxnSpMkLst>
        </pc:cxnChg>
        <pc:cxnChg chg="add del">
          <ac:chgData name="John Ferrari" userId="9b4c5a7a-5dfd-428e-8f07-54940faad3bc" providerId="ADAL" clId="{28009259-31F4-4A16-A867-4813AC176050}" dt="2018-06-10T18:19:17.038" v="585"/>
          <ac:cxnSpMkLst>
            <pc:docMk/>
            <pc:sldMk cId="2988709343" sldId="439"/>
            <ac:cxnSpMk id="6" creationId="{17ED1294-F472-48C0-94E8-FADB59FD8428}"/>
          </ac:cxnSpMkLst>
        </pc:cxnChg>
        <pc:cxnChg chg="add del">
          <ac:chgData name="John Ferrari" userId="9b4c5a7a-5dfd-428e-8f07-54940faad3bc" providerId="ADAL" clId="{28009259-31F4-4A16-A867-4813AC176050}" dt="2018-06-10T18:19:17.038" v="585"/>
          <ac:cxnSpMkLst>
            <pc:docMk/>
            <pc:sldMk cId="2988709343" sldId="439"/>
            <ac:cxnSpMk id="13" creationId="{5489BB84-4396-4932-9886-FD242AE370F0}"/>
          </ac:cxnSpMkLst>
        </pc:cxnChg>
      </pc:sldChg>
      <pc:sldChg chg="modSp">
        <pc:chgData name="John Ferrari" userId="9b4c5a7a-5dfd-428e-8f07-54940faad3bc" providerId="ADAL" clId="{28009259-31F4-4A16-A867-4813AC176050}" dt="2018-06-04T00:16:53.453" v="30" actId="255"/>
        <pc:sldMkLst>
          <pc:docMk/>
          <pc:sldMk cId="3942552148" sldId="445"/>
        </pc:sldMkLst>
        <pc:spChg chg="mod">
          <ac:chgData name="John Ferrari" userId="9b4c5a7a-5dfd-428e-8f07-54940faad3bc" providerId="ADAL" clId="{28009259-31F4-4A16-A867-4813AC176050}" dt="2018-06-04T00:13:43.100" v="19" actId="20577"/>
          <ac:spMkLst>
            <pc:docMk/>
            <pc:sldMk cId="3942552148" sldId="445"/>
            <ac:spMk id="2" creationId="{00000000-0000-0000-0000-000000000000}"/>
          </ac:spMkLst>
        </pc:spChg>
        <pc:spChg chg="mod">
          <ac:chgData name="John Ferrari" userId="9b4c5a7a-5dfd-428e-8f07-54940faad3bc" providerId="ADAL" clId="{28009259-31F4-4A16-A867-4813AC176050}" dt="2018-06-04T00:16:53.453" v="30" actId="255"/>
          <ac:spMkLst>
            <pc:docMk/>
            <pc:sldMk cId="3942552148" sldId="445"/>
            <ac:spMk id="3" creationId="{2033F844-B81A-42DC-B234-522238334D65}"/>
          </ac:spMkLst>
        </pc:spChg>
      </pc:sldChg>
      <pc:sldChg chg="addSp delSp modSp">
        <pc:chgData name="John Ferrari" userId="9b4c5a7a-5dfd-428e-8f07-54940faad3bc" providerId="ADAL" clId="{28009259-31F4-4A16-A867-4813AC176050}" dt="2018-06-04T00:30:11.916" v="61" actId="14"/>
        <pc:sldMkLst>
          <pc:docMk/>
          <pc:sldMk cId="513693834" sldId="446"/>
        </pc:sldMkLst>
        <pc:spChg chg="del">
          <ac:chgData name="John Ferrari" userId="9b4c5a7a-5dfd-428e-8f07-54940faad3bc" providerId="ADAL" clId="{28009259-31F4-4A16-A867-4813AC176050}" dt="2018-06-04T00:26:52.371" v="39" actId="478"/>
          <ac:spMkLst>
            <pc:docMk/>
            <pc:sldMk cId="513693834" sldId="446"/>
            <ac:spMk id="3"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4" creationId="{00000000-0000-0000-0000-000000000000}"/>
          </ac:spMkLst>
        </pc:spChg>
        <pc:spChg chg="mod">
          <ac:chgData name="John Ferrari" userId="9b4c5a7a-5dfd-428e-8f07-54940faad3bc" providerId="ADAL" clId="{28009259-31F4-4A16-A867-4813AC176050}" dt="2018-06-04T00:26:47.438" v="38" actId="20577"/>
          <ac:spMkLst>
            <pc:docMk/>
            <pc:sldMk cId="513693834" sldId="446"/>
            <ac:spMk id="67" creationId="{71D27FFF-0ED0-4D89-8DA9-592DF4550319}"/>
          </ac:spMkLst>
        </pc:spChg>
        <pc:spChg chg="del">
          <ac:chgData name="John Ferrari" userId="9b4c5a7a-5dfd-428e-8f07-54940faad3bc" providerId="ADAL" clId="{28009259-31F4-4A16-A867-4813AC176050}" dt="2018-06-04T00:26:52.371" v="39" actId="478"/>
          <ac:spMkLst>
            <pc:docMk/>
            <pc:sldMk cId="513693834" sldId="446"/>
            <ac:spMk id="87"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3"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4"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5"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6"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7"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8"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99"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100"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101"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102"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103" creationId="{00000000-0000-0000-0000-000000000000}"/>
          </ac:spMkLst>
        </pc:spChg>
        <pc:spChg chg="del">
          <ac:chgData name="John Ferrari" userId="9b4c5a7a-5dfd-428e-8f07-54940faad3bc" providerId="ADAL" clId="{28009259-31F4-4A16-A867-4813AC176050}" dt="2018-06-04T00:26:52.371" v="39" actId="478"/>
          <ac:spMkLst>
            <pc:docMk/>
            <pc:sldMk cId="513693834" sldId="446"/>
            <ac:spMk id="104" creationId="{00000000-0000-0000-0000-000000000000}"/>
          </ac:spMkLst>
        </pc:spChg>
        <pc:grpChg chg="del">
          <ac:chgData name="John Ferrari" userId="9b4c5a7a-5dfd-428e-8f07-54940faad3bc" providerId="ADAL" clId="{28009259-31F4-4A16-A867-4813AC176050}" dt="2018-06-04T00:26:52.371" v="39" actId="478"/>
          <ac:grpSpMkLst>
            <pc:docMk/>
            <pc:sldMk cId="513693834" sldId="446"/>
            <ac:grpSpMk id="5" creationId="{A1FBE7E5-CF3D-4FD4-8384-2092E5431C23}"/>
          </ac:grpSpMkLst>
        </pc:grpChg>
        <pc:graphicFrameChg chg="add mod modGraphic">
          <ac:chgData name="John Ferrari" userId="9b4c5a7a-5dfd-428e-8f07-54940faad3bc" providerId="ADAL" clId="{28009259-31F4-4A16-A867-4813AC176050}" dt="2018-06-04T00:30:11.916" v="61" actId="14"/>
          <ac:graphicFrameMkLst>
            <pc:docMk/>
            <pc:sldMk cId="513693834" sldId="446"/>
            <ac:graphicFrameMk id="6" creationId="{5491E71E-0713-4876-A481-B1225F61568D}"/>
          </ac:graphicFrameMkLst>
        </pc:graphicFrameChg>
        <pc:cxnChg chg="del">
          <ac:chgData name="John Ferrari" userId="9b4c5a7a-5dfd-428e-8f07-54940faad3bc" providerId="ADAL" clId="{28009259-31F4-4A16-A867-4813AC176050}" dt="2018-06-04T00:26:52.371" v="39" actId="478"/>
          <ac:cxnSpMkLst>
            <pc:docMk/>
            <pc:sldMk cId="513693834" sldId="446"/>
            <ac:cxnSpMk id="2" creationId="{00000000-0000-0000-0000-000000000000}"/>
          </ac:cxnSpMkLst>
        </pc:cxnChg>
        <pc:cxnChg chg="del">
          <ac:chgData name="John Ferrari" userId="9b4c5a7a-5dfd-428e-8f07-54940faad3bc" providerId="ADAL" clId="{28009259-31F4-4A16-A867-4813AC176050}" dt="2018-06-04T00:26:52.371" v="39" actId="478"/>
          <ac:cxnSpMkLst>
            <pc:docMk/>
            <pc:sldMk cId="513693834" sldId="446"/>
            <ac:cxnSpMk id="88" creationId="{00000000-0000-0000-0000-000000000000}"/>
          </ac:cxnSpMkLst>
        </pc:cxnChg>
        <pc:cxnChg chg="del">
          <ac:chgData name="John Ferrari" userId="9b4c5a7a-5dfd-428e-8f07-54940faad3bc" providerId="ADAL" clId="{28009259-31F4-4A16-A867-4813AC176050}" dt="2018-06-04T00:26:52.371" v="39" actId="478"/>
          <ac:cxnSpMkLst>
            <pc:docMk/>
            <pc:sldMk cId="513693834" sldId="446"/>
            <ac:cxnSpMk id="105" creationId="{00000000-0000-0000-0000-000000000000}"/>
          </ac:cxnSpMkLst>
        </pc:cxnChg>
      </pc:sldChg>
      <pc:sldChg chg="modSp add">
        <pc:chgData name="John Ferrari" userId="9b4c5a7a-5dfd-428e-8f07-54940faad3bc" providerId="ADAL" clId="{28009259-31F4-4A16-A867-4813AC176050}" dt="2018-06-04T00:30:34.232" v="62" actId="1076"/>
        <pc:sldMkLst>
          <pc:docMk/>
          <pc:sldMk cId="946170245" sldId="447"/>
        </pc:sldMkLst>
        <pc:graphicFrameChg chg="mod modGraphic">
          <ac:chgData name="John Ferrari" userId="9b4c5a7a-5dfd-428e-8f07-54940faad3bc" providerId="ADAL" clId="{28009259-31F4-4A16-A867-4813AC176050}" dt="2018-06-04T00:30:34.232" v="62" actId="1076"/>
          <ac:graphicFrameMkLst>
            <pc:docMk/>
            <pc:sldMk cId="946170245" sldId="447"/>
            <ac:graphicFrameMk id="6" creationId="{5491E71E-0713-4876-A481-B1225F61568D}"/>
          </ac:graphicFrameMkLst>
        </pc:graphicFrameChg>
      </pc:sldChg>
      <pc:sldChg chg="addSp delSp modSp add">
        <pc:chgData name="John Ferrari" userId="9b4c5a7a-5dfd-428e-8f07-54940faad3bc" providerId="ADAL" clId="{28009259-31F4-4A16-A867-4813AC176050}" dt="2018-06-10T18:16:06.430" v="512" actId="20577"/>
        <pc:sldMkLst>
          <pc:docMk/>
          <pc:sldMk cId="1737926528" sldId="448"/>
        </pc:sldMkLst>
        <pc:spChg chg="del">
          <ac:chgData name="John Ferrari" userId="9b4c5a7a-5dfd-428e-8f07-54940faad3bc" providerId="ADAL" clId="{28009259-31F4-4A16-A867-4813AC176050}" dt="2018-06-04T00:31:09.039" v="64" actId="478"/>
          <ac:spMkLst>
            <pc:docMk/>
            <pc:sldMk cId="1737926528" sldId="448"/>
            <ac:spMk id="2" creationId="{6BB8BC35-CBDB-4E8D-82C5-45DBC9836994}"/>
          </ac:spMkLst>
        </pc:spChg>
        <pc:spChg chg="mod">
          <ac:chgData name="John Ferrari" userId="9b4c5a7a-5dfd-428e-8f07-54940faad3bc" providerId="ADAL" clId="{28009259-31F4-4A16-A867-4813AC176050}" dt="2018-06-04T00:32:06.990" v="94" actId="20577"/>
          <ac:spMkLst>
            <pc:docMk/>
            <pc:sldMk cId="1737926528" sldId="448"/>
            <ac:spMk id="4" creationId="{E07A14BA-BF2B-4DB4-8A4E-EFEC29CFB75E}"/>
          </ac:spMkLst>
        </pc:spChg>
        <pc:spChg chg="add mod">
          <ac:chgData name="John Ferrari" userId="9b4c5a7a-5dfd-428e-8f07-54940faad3bc" providerId="ADAL" clId="{28009259-31F4-4A16-A867-4813AC176050}" dt="2018-06-10T18:16:06.430" v="512" actId="20577"/>
          <ac:spMkLst>
            <pc:docMk/>
            <pc:sldMk cId="1737926528" sldId="448"/>
            <ac:spMk id="5" creationId="{103FC4D1-DB6A-40ED-B173-54E9503F61A7}"/>
          </ac:spMkLst>
        </pc:spChg>
        <pc:graphicFrameChg chg="add mod modGraphic">
          <ac:chgData name="John Ferrari" userId="9b4c5a7a-5dfd-428e-8f07-54940faad3bc" providerId="ADAL" clId="{28009259-31F4-4A16-A867-4813AC176050}" dt="2018-06-10T18:15:13.192" v="431" actId="1076"/>
          <ac:graphicFrameMkLst>
            <pc:docMk/>
            <pc:sldMk cId="1737926528" sldId="448"/>
            <ac:graphicFrameMk id="3" creationId="{C3D4A0A9-6821-4FB5-83AA-D85CDEF8BC8A}"/>
          </ac:graphicFrameMkLst>
        </pc:graphicFrameChg>
        <pc:picChg chg="add del mod">
          <ac:chgData name="John Ferrari" userId="9b4c5a7a-5dfd-428e-8f07-54940faad3bc" providerId="ADAL" clId="{28009259-31F4-4A16-A867-4813AC176050}" dt="2018-06-10T18:15:09.512" v="430" actId="478"/>
          <ac:picMkLst>
            <pc:docMk/>
            <pc:sldMk cId="1737926528" sldId="448"/>
            <ac:picMk id="6" creationId="{52C5ED37-D36F-41CE-A47F-C3BA50AC00BE}"/>
          </ac:picMkLst>
        </pc:picChg>
      </pc:sldChg>
      <pc:sldChg chg="addSp delSp modSp add">
        <pc:chgData name="John Ferrari" userId="9b4c5a7a-5dfd-428e-8f07-54940faad3bc" providerId="ADAL" clId="{28009259-31F4-4A16-A867-4813AC176050}" dt="2018-06-10T18:09:55.205" v="396" actId="20577"/>
        <pc:sldMkLst>
          <pc:docMk/>
          <pc:sldMk cId="2846669077" sldId="449"/>
        </pc:sldMkLst>
        <pc:spChg chg="add mod">
          <ac:chgData name="John Ferrari" userId="9b4c5a7a-5dfd-428e-8f07-54940faad3bc" providerId="ADAL" clId="{28009259-31F4-4A16-A867-4813AC176050}" dt="2018-06-10T18:09:55.205" v="396" actId="20577"/>
          <ac:spMkLst>
            <pc:docMk/>
            <pc:sldMk cId="2846669077" sldId="449"/>
            <ac:spMk id="2" creationId="{DD23F7A5-CBBA-4489-BC48-FAF863C7D78B}"/>
          </ac:spMkLst>
        </pc:spChg>
        <pc:spChg chg="mod">
          <ac:chgData name="John Ferrari" userId="9b4c5a7a-5dfd-428e-8f07-54940faad3bc" providerId="ADAL" clId="{28009259-31F4-4A16-A867-4813AC176050}" dt="2018-06-10T18:07:04.394" v="275" actId="1076"/>
          <ac:spMkLst>
            <pc:docMk/>
            <pc:sldMk cId="2846669077" sldId="449"/>
            <ac:spMk id="4" creationId="{E07A14BA-BF2B-4DB4-8A4E-EFEC29CFB75E}"/>
          </ac:spMkLst>
        </pc:spChg>
        <pc:graphicFrameChg chg="add del">
          <ac:chgData name="John Ferrari" userId="9b4c5a7a-5dfd-428e-8f07-54940faad3bc" providerId="ADAL" clId="{28009259-31F4-4A16-A867-4813AC176050}" dt="2018-06-04T00:32:35.982" v="98" actId="14100"/>
          <ac:graphicFrameMkLst>
            <pc:docMk/>
            <pc:sldMk cId="2846669077" sldId="449"/>
            <ac:graphicFrameMk id="2" creationId="{33895595-2B90-4C50-B9B6-E1C02BC808DC}"/>
          </ac:graphicFrameMkLst>
        </pc:graphicFrameChg>
        <pc:graphicFrameChg chg="del">
          <ac:chgData name="John Ferrari" userId="9b4c5a7a-5dfd-428e-8f07-54940faad3bc" providerId="ADAL" clId="{28009259-31F4-4A16-A867-4813AC176050}" dt="2018-06-04T00:32:18.418" v="96" actId="478"/>
          <ac:graphicFrameMkLst>
            <pc:docMk/>
            <pc:sldMk cId="2846669077" sldId="449"/>
            <ac:graphicFrameMk id="3" creationId="{C3D4A0A9-6821-4FB5-83AA-D85CDEF8BC8A}"/>
          </ac:graphicFrameMkLst>
        </pc:graphicFrameChg>
        <pc:graphicFrameChg chg="add mod modGraphic">
          <ac:chgData name="John Ferrari" userId="9b4c5a7a-5dfd-428e-8f07-54940faad3bc" providerId="ADAL" clId="{28009259-31F4-4A16-A867-4813AC176050}" dt="2018-06-10T18:06:11.714" v="232" actId="1076"/>
          <ac:graphicFrameMkLst>
            <pc:docMk/>
            <pc:sldMk cId="2846669077" sldId="449"/>
            <ac:graphicFrameMk id="5" creationId="{071F0856-160A-4868-B234-95A419A97584}"/>
          </ac:graphicFrameMkLst>
        </pc:graphicFrameChg>
      </pc:sldChg>
      <pc:sldChg chg="delSp">
        <pc:chgData name="John Ferrari" userId="9b4c5a7a-5dfd-428e-8f07-54940faad3bc" providerId="ADAL" clId="{28009259-31F4-4A16-A867-4813AC176050}" dt="2018-06-10T17:53:58.807" v="110" actId="478"/>
        <pc:sldMkLst>
          <pc:docMk/>
          <pc:sldMk cId="1562164955" sldId="452"/>
        </pc:sldMkLst>
        <pc:picChg chg="del">
          <ac:chgData name="John Ferrari" userId="9b4c5a7a-5dfd-428e-8f07-54940faad3bc" providerId="ADAL" clId="{28009259-31F4-4A16-A867-4813AC176050}" dt="2018-06-10T17:53:58.807" v="110" actId="478"/>
          <ac:picMkLst>
            <pc:docMk/>
            <pc:sldMk cId="1562164955" sldId="452"/>
            <ac:picMk id="6" creationId="{71A9CB28-4C9C-4EE7-81D5-4F067189C431}"/>
          </ac:picMkLst>
        </pc:picChg>
      </pc:sldChg>
      <pc:sldChg chg="modSp add ord">
        <pc:chgData name="John Ferrari" userId="9b4c5a7a-5dfd-428e-8f07-54940faad3bc" providerId="ADAL" clId="{28009259-31F4-4A16-A867-4813AC176050}" dt="2018-06-10T18:20:31.988" v="593" actId="20577"/>
        <pc:sldMkLst>
          <pc:docMk/>
          <pc:sldMk cId="2517967279" sldId="453"/>
        </pc:sldMkLst>
        <pc:spChg chg="mod">
          <ac:chgData name="John Ferrari" userId="9b4c5a7a-5dfd-428e-8f07-54940faad3bc" providerId="ADAL" clId="{28009259-31F4-4A16-A867-4813AC176050}" dt="2018-06-10T18:20:31.988" v="593" actId="20577"/>
          <ac:spMkLst>
            <pc:docMk/>
            <pc:sldMk cId="2517967279" sldId="453"/>
            <ac:spMk id="4" creationId="{E07A14BA-BF2B-4DB4-8A4E-EFEC29CFB75E}"/>
          </ac:spMkLst>
        </pc:spChg>
      </pc:sldChg>
      <pc:sldChg chg="addSp delSp modSp add">
        <pc:chgData name="John Ferrari" userId="9b4c5a7a-5dfd-428e-8f07-54940faad3bc" providerId="ADAL" clId="{28009259-31F4-4A16-A867-4813AC176050}" dt="2018-06-10T18:18:07.885" v="583" actId="1076"/>
        <pc:sldMkLst>
          <pc:docMk/>
          <pc:sldMk cId="1030401564" sldId="454"/>
        </pc:sldMkLst>
        <pc:spChg chg="del">
          <ac:chgData name="John Ferrari" userId="9b4c5a7a-5dfd-428e-8f07-54940faad3bc" providerId="ADAL" clId="{28009259-31F4-4A16-A867-4813AC176050}" dt="2018-06-10T18:16:43.946" v="516" actId="478"/>
          <ac:spMkLst>
            <pc:docMk/>
            <pc:sldMk cId="1030401564" sldId="454"/>
            <ac:spMk id="3"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4" creationId="{00000000-0000-0000-0000-000000000000}"/>
          </ac:spMkLst>
        </pc:spChg>
        <pc:spChg chg="mod">
          <ac:chgData name="John Ferrari" userId="9b4c5a7a-5dfd-428e-8f07-54940faad3bc" providerId="ADAL" clId="{28009259-31F4-4A16-A867-4813AC176050}" dt="2018-06-10T18:17:05.112" v="541" actId="20577"/>
          <ac:spMkLst>
            <pc:docMk/>
            <pc:sldMk cId="1030401564" sldId="454"/>
            <ac:spMk id="67" creationId="{71D27FFF-0ED0-4D89-8DA9-592DF4550319}"/>
          </ac:spMkLst>
        </pc:spChg>
        <pc:spChg chg="del">
          <ac:chgData name="John Ferrari" userId="9b4c5a7a-5dfd-428e-8f07-54940faad3bc" providerId="ADAL" clId="{28009259-31F4-4A16-A867-4813AC176050}" dt="2018-06-10T18:16:43.946" v="516" actId="478"/>
          <ac:spMkLst>
            <pc:docMk/>
            <pc:sldMk cId="1030401564" sldId="454"/>
            <ac:spMk id="87"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3"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4"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5"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6"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7"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8"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99"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100"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101"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102"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103" creationId="{00000000-0000-0000-0000-000000000000}"/>
          </ac:spMkLst>
        </pc:spChg>
        <pc:spChg chg="del">
          <ac:chgData name="John Ferrari" userId="9b4c5a7a-5dfd-428e-8f07-54940faad3bc" providerId="ADAL" clId="{28009259-31F4-4A16-A867-4813AC176050}" dt="2018-06-10T18:16:43.946" v="516" actId="478"/>
          <ac:spMkLst>
            <pc:docMk/>
            <pc:sldMk cId="1030401564" sldId="454"/>
            <ac:spMk id="104" creationId="{00000000-0000-0000-0000-000000000000}"/>
          </ac:spMkLst>
        </pc:spChg>
        <pc:grpChg chg="del">
          <ac:chgData name="John Ferrari" userId="9b4c5a7a-5dfd-428e-8f07-54940faad3bc" providerId="ADAL" clId="{28009259-31F4-4A16-A867-4813AC176050}" dt="2018-06-10T18:16:43.946" v="516" actId="478"/>
          <ac:grpSpMkLst>
            <pc:docMk/>
            <pc:sldMk cId="1030401564" sldId="454"/>
            <ac:grpSpMk id="5" creationId="{A1FBE7E5-CF3D-4FD4-8384-2092E5431C23}"/>
          </ac:grpSpMkLst>
        </pc:grpChg>
        <pc:grpChg chg="add del mod">
          <ac:chgData name="John Ferrari" userId="9b4c5a7a-5dfd-428e-8f07-54940faad3bc" providerId="ADAL" clId="{28009259-31F4-4A16-A867-4813AC176050}" dt="2018-06-10T18:17:49.711" v="578" actId="478"/>
          <ac:grpSpMkLst>
            <pc:docMk/>
            <pc:sldMk cId="1030401564" sldId="454"/>
            <ac:grpSpMk id="70" creationId="{1B8D7F66-807F-4BE3-9C53-E7C6285665FE}"/>
          </ac:grpSpMkLst>
        </pc:grpChg>
        <pc:picChg chg="add mod">
          <ac:chgData name="John Ferrari" userId="9b4c5a7a-5dfd-428e-8f07-54940faad3bc" providerId="ADAL" clId="{28009259-31F4-4A16-A867-4813AC176050}" dt="2018-06-10T18:18:07.885" v="583" actId="1076"/>
          <ac:picMkLst>
            <pc:docMk/>
            <pc:sldMk cId="1030401564" sldId="454"/>
            <ac:picMk id="6" creationId="{5A8212A9-C132-4E90-978E-48FD7586BC2E}"/>
          </ac:picMkLst>
        </pc:picChg>
        <pc:picChg chg="add del mod">
          <ac:chgData name="John Ferrari" userId="9b4c5a7a-5dfd-428e-8f07-54940faad3bc" providerId="ADAL" clId="{28009259-31F4-4A16-A867-4813AC176050}" dt="2018-06-10T18:17:49.711" v="578" actId="478"/>
          <ac:picMkLst>
            <pc:docMk/>
            <pc:sldMk cId="1030401564" sldId="454"/>
            <ac:picMk id="118" creationId="{F49DC9C9-F9E5-43BA-8D33-26C70D1D4E95}"/>
          </ac:picMkLst>
        </pc:picChg>
        <pc:cxnChg chg="del">
          <ac:chgData name="John Ferrari" userId="9b4c5a7a-5dfd-428e-8f07-54940faad3bc" providerId="ADAL" clId="{28009259-31F4-4A16-A867-4813AC176050}" dt="2018-06-10T18:16:43.946" v="516" actId="478"/>
          <ac:cxnSpMkLst>
            <pc:docMk/>
            <pc:sldMk cId="1030401564" sldId="454"/>
            <ac:cxnSpMk id="2" creationId="{00000000-0000-0000-0000-000000000000}"/>
          </ac:cxnSpMkLst>
        </pc:cxnChg>
        <pc:cxnChg chg="mod">
          <ac:chgData name="John Ferrari" userId="9b4c5a7a-5dfd-428e-8f07-54940faad3bc" providerId="ADAL" clId="{28009259-31F4-4A16-A867-4813AC176050}" dt="2018-06-10T18:17:49.711" v="578" actId="478"/>
          <ac:cxnSpMkLst>
            <pc:docMk/>
            <pc:sldMk cId="1030401564" sldId="454"/>
            <ac:cxnSpMk id="77" creationId="{52984E6F-7725-4B0E-87C0-B03460A7A0F5}"/>
          </ac:cxnSpMkLst>
        </pc:cxnChg>
        <pc:cxnChg chg="mod">
          <ac:chgData name="John Ferrari" userId="9b4c5a7a-5dfd-428e-8f07-54940faad3bc" providerId="ADAL" clId="{28009259-31F4-4A16-A867-4813AC176050}" dt="2018-06-10T18:17:49.711" v="578" actId="478"/>
          <ac:cxnSpMkLst>
            <pc:docMk/>
            <pc:sldMk cId="1030401564" sldId="454"/>
            <ac:cxnSpMk id="84" creationId="{7E412A5E-D845-408A-826F-9EDF8191A508}"/>
          </ac:cxnSpMkLst>
        </pc:cxnChg>
        <pc:cxnChg chg="mod">
          <ac:chgData name="John Ferrari" userId="9b4c5a7a-5dfd-428e-8f07-54940faad3bc" providerId="ADAL" clId="{28009259-31F4-4A16-A867-4813AC176050}" dt="2018-06-10T18:17:49.711" v="578" actId="478"/>
          <ac:cxnSpMkLst>
            <pc:docMk/>
            <pc:sldMk cId="1030401564" sldId="454"/>
            <ac:cxnSpMk id="85" creationId="{C1E8171E-3591-4005-961C-412B4B5F7D3C}"/>
          </ac:cxnSpMkLst>
        </pc:cxnChg>
        <pc:cxnChg chg="del">
          <ac:chgData name="John Ferrari" userId="9b4c5a7a-5dfd-428e-8f07-54940faad3bc" providerId="ADAL" clId="{28009259-31F4-4A16-A867-4813AC176050}" dt="2018-06-10T18:16:43.946" v="516" actId="478"/>
          <ac:cxnSpMkLst>
            <pc:docMk/>
            <pc:sldMk cId="1030401564" sldId="454"/>
            <ac:cxnSpMk id="88" creationId="{00000000-0000-0000-0000-000000000000}"/>
          </ac:cxnSpMkLst>
        </pc:cxnChg>
        <pc:cxnChg chg="del">
          <ac:chgData name="John Ferrari" userId="9b4c5a7a-5dfd-428e-8f07-54940faad3bc" providerId="ADAL" clId="{28009259-31F4-4A16-A867-4813AC176050}" dt="2018-06-10T18:16:43.946" v="516" actId="478"/>
          <ac:cxnSpMkLst>
            <pc:docMk/>
            <pc:sldMk cId="1030401564" sldId="454"/>
            <ac:cxnSpMk id="105" creationId="{00000000-0000-0000-0000-000000000000}"/>
          </ac:cxnSpMkLst>
        </pc:cxnChg>
        <pc:cxnChg chg="mod">
          <ac:chgData name="John Ferrari" userId="9b4c5a7a-5dfd-428e-8f07-54940faad3bc" providerId="ADAL" clId="{28009259-31F4-4A16-A867-4813AC176050}" dt="2018-06-10T18:17:49.711" v="578" actId="478"/>
          <ac:cxnSpMkLst>
            <pc:docMk/>
            <pc:sldMk cId="1030401564" sldId="454"/>
            <ac:cxnSpMk id="106" creationId="{877B3431-9F61-4903-A9EA-BE7D239E3B49}"/>
          </ac:cxnSpMkLst>
        </pc:cxnChg>
      </pc:sldChg>
      <pc:sldChg chg="delSp add del">
        <pc:chgData name="John Ferrari" userId="9b4c5a7a-5dfd-428e-8f07-54940faad3bc" providerId="ADAL" clId="{28009259-31F4-4A16-A867-4813AC176050}" dt="2018-06-10T18:20:27.004" v="591" actId="2696"/>
        <pc:sldMkLst>
          <pc:docMk/>
          <pc:sldMk cId="3195380047" sldId="455"/>
        </pc:sldMkLst>
        <pc:picChg chg="del">
          <ac:chgData name="John Ferrari" userId="9b4c5a7a-5dfd-428e-8f07-54940faad3bc" providerId="ADAL" clId="{28009259-31F4-4A16-A867-4813AC176050}" dt="2018-06-10T18:19:31.009" v="590" actId="478"/>
          <ac:picMkLst>
            <pc:docMk/>
            <pc:sldMk cId="3195380047" sldId="455"/>
            <ac:picMk id="2" creationId="{FC39A0D5-26F3-4F57-A408-9F9876389E08}"/>
          </ac:picMkLst>
        </pc:picChg>
      </pc:sldChg>
    </pc:docChg>
  </pc:docChgLst>
  <pc:docChgLst>
    <pc:chgData name="John Ferrari" userId="9b4c5a7a-5dfd-428e-8f07-54940faad3bc" providerId="ADAL" clId="{61661B5B-F891-49CF-9330-1BFF1F99664D}"/>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10/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10/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5</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011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252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9442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532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8744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7</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8</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18 1:4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0603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5</a:t>
            </a:fld>
            <a:endParaRPr lang="en-US"/>
          </a:p>
        </p:txBody>
      </p:sp>
    </p:spTree>
    <p:extLst>
      <p:ext uri="{BB962C8B-B14F-4D97-AF65-F5344CB8AC3E}">
        <p14:creationId xmlns:p14="http://schemas.microsoft.com/office/powerpoint/2010/main" val="7308789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1538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3539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2444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9</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0</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1</a:t>
            </a:fld>
            <a:endParaRPr lang="en-US"/>
          </a:p>
        </p:txBody>
      </p:sp>
    </p:spTree>
    <p:extLst>
      <p:ext uri="{BB962C8B-B14F-4D97-AF65-F5344CB8AC3E}">
        <p14:creationId xmlns:p14="http://schemas.microsoft.com/office/powerpoint/2010/main" val="28569160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2</a:t>
            </a:fld>
            <a:endParaRPr lang="en-US"/>
          </a:p>
        </p:txBody>
      </p:sp>
    </p:spTree>
    <p:extLst>
      <p:ext uri="{BB962C8B-B14F-4D97-AF65-F5344CB8AC3E}">
        <p14:creationId xmlns:p14="http://schemas.microsoft.com/office/powerpoint/2010/main" val="16009478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3</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4</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5</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 Id="rId8" Type="http://schemas.openxmlformats.org/officeDocument/2006/relationships/slideLayout" Target="../slideLayouts/slideLayout610.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10/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10/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 Id="rId4" Type="http://schemas.openxmlformats.org/officeDocument/2006/relationships/hyperlink" Target="https://docs.microsoft.com/en-us/azure/storage/storage-premium-storage#scalability-and-performance-target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s>
</file>

<file path=ppt/slides/_rels/slide25.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image" Target="../media/image84.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1.xml"/></Relationships>
</file>

<file path=ppt/slides/_rels/slide32.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9.emf"/><Relationship Id="rId3" Type="http://schemas.openxmlformats.org/officeDocument/2006/relationships/image" Target="../media/image101.emf"/><Relationship Id="rId7" Type="http://schemas.openxmlformats.org/officeDocument/2006/relationships/image" Target="../media/image105.png"/><Relationship Id="rId12" Type="http://schemas.openxmlformats.org/officeDocument/2006/relationships/image" Target="../media/image108.emf"/><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image" Target="../media/image107.emf"/><Relationship Id="rId5" Type="http://schemas.openxmlformats.org/officeDocument/2006/relationships/image" Target="../media/image103.emf"/><Relationship Id="rId10" Type="http://schemas.microsoft.com/office/2007/relationships/hdphoto" Target="../media/hdphoto7.wdp"/><Relationship Id="rId4" Type="http://schemas.openxmlformats.org/officeDocument/2006/relationships/image" Target="../media/image102.emf"/><Relationship Id="rId9" Type="http://schemas.openxmlformats.org/officeDocument/2006/relationships/image" Target="../media/image10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1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8" Type="http://schemas.openxmlformats.org/officeDocument/2006/relationships/image" Target="../media/image115.emf"/><Relationship Id="rId3" Type="http://schemas.openxmlformats.org/officeDocument/2006/relationships/image" Target="../media/image113.png"/><Relationship Id="rId7" Type="http://schemas.openxmlformats.org/officeDocument/2006/relationships/hyperlink" Target="https://docs.microsoft.com/en-us/azure/sql-database/sql-database-vnet-service-endpoint-rule-overview" TargetMode="External"/><Relationship Id="rId2" Type="http://schemas.openxmlformats.org/officeDocument/2006/relationships/notesSlide" Target="../notesSlides/notesSlide38.xml"/><Relationship Id="rId1" Type="http://schemas.openxmlformats.org/officeDocument/2006/relationships/slideLayout" Target="../slideLayouts/slideLayout11.xml"/><Relationship Id="rId6" Type="http://schemas.openxmlformats.org/officeDocument/2006/relationships/image" Target="../media/image114.emf"/><Relationship Id="rId5" Type="http://schemas.openxmlformats.org/officeDocument/2006/relationships/hyperlink" Target="https://docs.microsoft.com/en-us/azure/virtual-network/virtual-network-service-endpoints-overview" TargetMode="External"/><Relationship Id="rId4" Type="http://schemas.openxmlformats.org/officeDocument/2006/relationships/hyperlink" Target="https://docs.microsoft.com/en-us/azure/virtual-network/security-overview#service-tag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15.emf"/><Relationship Id="rId4" Type="http://schemas.openxmlformats.org/officeDocument/2006/relationships/hyperlink" Target="https://docs.microsoft.com/en-us/azure/sql-database/sql-database-firewall-configure"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15.emf"/><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hyperlink" Target="https://docs.microsoft.com/en-us/azure/sql-database/sql-database-ssms-mfa-authentication" TargetMode="External"/><Relationship Id="rId5" Type="http://schemas.openxmlformats.org/officeDocument/2006/relationships/hyperlink" Target="https://docs.microsoft.com/en-us/azure/sql-database/sql-database-manage-logins" TargetMode="External"/><Relationship Id="rId4" Type="http://schemas.openxmlformats.org/officeDocument/2006/relationships/image" Target="../media/image11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0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0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0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21.xml"/></Relationships>
</file>

<file path=ppt/slides/_rels/slide4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20.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5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21.png"/><Relationship Id="rId7" Type="http://schemas.openxmlformats.org/officeDocument/2006/relationships/diagramQuickStyle" Target="../diagrams/quickStyle2.xml"/><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5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1.xml"/><Relationship Id="rId1" Type="http://schemas.openxmlformats.org/officeDocument/2006/relationships/slideLayout" Target="../slideLayouts/slideLayout11.xml"/><Relationship Id="rId4" Type="http://schemas.openxmlformats.org/officeDocument/2006/relationships/image" Target="../media/image123.png"/></Relationships>
</file>

<file path=ppt/slides/_rels/slide5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emf"/><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28.emf"/><Relationship Id="rId5" Type="http://schemas.openxmlformats.org/officeDocument/2006/relationships/image" Target="../media/image127.emf"/><Relationship Id="rId4" Type="http://schemas.openxmlformats.org/officeDocument/2006/relationships/image" Target="../media/image126.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21.xml"/></Relationships>
</file>

<file path=ppt/slides/_rels/slide5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32.svg"/></Relationships>
</file>

<file path=ppt/slides/_rels/slide5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4.svg"/></Relationships>
</file>

<file path=ppt/slides/_rels/slide5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6.svg"/></Relationships>
</file>

<file path=ppt/slides/_rels/slide5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9.xml"/><Relationship Id="rId1" Type="http://schemas.openxmlformats.org/officeDocument/2006/relationships/slideLayout" Target="../slideLayouts/slideLayout724.xml"/><Relationship Id="rId4" Type="http://schemas.openxmlformats.org/officeDocument/2006/relationships/image" Target="../media/image138.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0.xml"/><Relationship Id="rId1" Type="http://schemas.openxmlformats.org/officeDocument/2006/relationships/slideLayout" Target="../slideLayouts/slideLayout724.xml"/><Relationship Id="rId4" Type="http://schemas.openxmlformats.org/officeDocument/2006/relationships/image" Target="../media/image140.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2.xml"/><Relationship Id="rId1" Type="http://schemas.openxmlformats.org/officeDocument/2006/relationships/slideLayout" Target="../slideLayouts/slideLayout724.xml"/><Relationship Id="rId4" Type="http://schemas.openxmlformats.org/officeDocument/2006/relationships/image" Target="../media/image142.svg"/></Relationships>
</file>

<file path=ppt/slides/_rels/slide6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3.xml"/><Relationship Id="rId1" Type="http://schemas.openxmlformats.org/officeDocument/2006/relationships/slideLayout" Target="../slideLayouts/slideLayout72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24.xml"/></Relationships>
</file>

<file path=ppt/slides/_rels/slide6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65.xml"/><Relationship Id="rId1" Type="http://schemas.openxmlformats.org/officeDocument/2006/relationships/slideLayout" Target="../slideLayouts/slideLayout72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2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2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21.xml"/></Relationships>
</file>

<file path=ppt/slides/_rels/slide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70.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70.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21.xml"/></Relationships>
</file>

<file path=ppt/slides/_rels/slide74.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75.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5.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6" y="205099"/>
            <a:ext cx="11887200" cy="1181862"/>
          </a:xfrm>
        </p:spPr>
        <p:txBody>
          <a:bodyPr/>
          <a:lstStyle/>
          <a:p>
            <a:r>
              <a:rPr lang="en-US" dirty="0"/>
              <a:t>Design Data Implementation</a:t>
            </a:r>
          </a:p>
        </p:txBody>
      </p:sp>
      <p:sp>
        <p:nvSpPr>
          <p:cNvPr id="3" name="TextBox 2">
            <a:extLst>
              <a:ext uri="{FF2B5EF4-FFF2-40B4-BE49-F238E27FC236}">
                <a16:creationId xmlns:a16="http://schemas.microsoft.com/office/drawing/2014/main" id="{2033F844-B81A-42DC-B234-522238334D65}"/>
              </a:ext>
            </a:extLst>
          </p:cNvPr>
          <p:cNvSpPr txBox="1"/>
          <p:nvPr/>
        </p:nvSpPr>
        <p:spPr>
          <a:xfrm>
            <a:off x="274636" y="1386961"/>
            <a:ext cx="11887201" cy="5373779"/>
          </a:xfrm>
          <a:prstGeom prst="rect">
            <a:avLst/>
          </a:prstGeom>
          <a:noFill/>
        </p:spPr>
        <p:txBody>
          <a:bodyPr wrap="square" lIns="182880" tIns="146304" rIns="182880" bIns="146304" rtlCol="0">
            <a:spAutoFit/>
          </a:bodyPr>
          <a:lstStyle/>
          <a:p>
            <a:pPr lvl="0" fontAlgn="base"/>
            <a:r>
              <a:rPr lang="en-US" sz="2400" dirty="0">
                <a:solidFill>
                  <a:srgbClr val="FFFFFF"/>
                </a:solidFill>
              </a:rPr>
              <a:t>Design for Azure Storage solutions </a:t>
            </a:r>
          </a:p>
          <a:p>
            <a:pPr lvl="0" fontAlgn="base"/>
            <a:r>
              <a:rPr lang="en-US" sz="1400" dirty="0">
                <a:solidFill>
                  <a:srgbClr val="FFFFFF"/>
                </a:solidFill>
              </a:rPr>
              <a:t>Determine when to use Azure Blob Storage, blob tiers (hot, cool, archive), Azure Files, disks, Azure Data Box, Azure Storage Service Encryption, and Azure StorSimple</a:t>
            </a:r>
          </a:p>
          <a:p>
            <a:pPr lvl="0" fontAlgn="base"/>
            <a:endParaRPr lang="en-US" sz="1400" dirty="0">
              <a:solidFill>
                <a:srgbClr val="FFFFFF"/>
              </a:solidFill>
            </a:endParaRPr>
          </a:p>
          <a:p>
            <a:pPr lvl="0" fontAlgn="base"/>
            <a:r>
              <a:rPr lang="en-US" sz="2400" dirty="0">
                <a:solidFill>
                  <a:srgbClr val="FFFFFF"/>
                </a:solidFill>
              </a:rPr>
              <a:t>Design for Azure Data Services </a:t>
            </a:r>
          </a:p>
          <a:p>
            <a:pPr lvl="0" fontAlgn="base"/>
            <a:r>
              <a:rPr lang="en-US" sz="1400" dirty="0">
                <a:solidFill>
                  <a:srgbClr val="FFFFFF"/>
                </a:solidFill>
              </a:rPr>
              <a:t>Determine when to use Azure Data Catalog, Azure Data Factory, Azure SQL Data Warehouse, Azure Data Lake Analytics, Azure Analysis Services, and Azure HDInsight</a:t>
            </a:r>
          </a:p>
          <a:p>
            <a:pPr lvl="0" fontAlgn="base"/>
            <a:endParaRPr lang="en-US" sz="1400" dirty="0">
              <a:solidFill>
                <a:srgbClr val="FFFFFF"/>
              </a:solidFill>
            </a:endParaRPr>
          </a:p>
          <a:p>
            <a:pPr lvl="0" fontAlgn="base"/>
            <a:r>
              <a:rPr lang="en-US" sz="2400" dirty="0">
                <a:solidFill>
                  <a:srgbClr val="FFFFFF"/>
                </a:solidFill>
              </a:rPr>
              <a:t>Design for relational database storage </a:t>
            </a:r>
          </a:p>
          <a:p>
            <a:pPr lvl="0" fontAlgn="base"/>
            <a:r>
              <a:rPr lang="en-US" sz="1400" dirty="0">
                <a:solidFill>
                  <a:srgbClr val="FFFFFF"/>
                </a:solidFill>
              </a:rPr>
              <a:t>Determine when to use Azure SQL Database and SQL Server Stretch Database; design for scalability and features; determine when to use Azure Database for MySQL and Azure Database for PostgreSQL; design for HA/DR, geo-replication; design a backup and recovery strategy; design optimization strategies for Azure SQL Data Warehouse columnar storage</a:t>
            </a:r>
          </a:p>
          <a:p>
            <a:pPr lvl="0" fontAlgn="base"/>
            <a:endParaRPr lang="en-US" sz="1400" dirty="0">
              <a:solidFill>
                <a:srgbClr val="FFFFFF"/>
              </a:solidFill>
            </a:endParaRPr>
          </a:p>
          <a:p>
            <a:pPr lvl="0" fontAlgn="base"/>
            <a:r>
              <a:rPr lang="en-US" sz="2400" dirty="0">
                <a:solidFill>
                  <a:srgbClr val="FFFFFF"/>
                </a:solidFill>
              </a:rPr>
              <a:t>Design for NoSQL storage </a:t>
            </a:r>
          </a:p>
          <a:p>
            <a:pPr lvl="0" fontAlgn="base"/>
            <a:r>
              <a:rPr lang="en-US" sz="1400" dirty="0">
                <a:solidFill>
                  <a:srgbClr val="FFFFFF"/>
                </a:solidFill>
              </a:rPr>
              <a:t>Determine when to use Azure Redis Cache, Azure Table Storage, Azure Data Lake, Azure Search, Time Series Insights; design pipelines for managing recurring jobs </a:t>
            </a:r>
          </a:p>
          <a:p>
            <a:pPr lvl="0" fontAlgn="base"/>
            <a:endParaRPr lang="en-US" sz="1400" dirty="0">
              <a:solidFill>
                <a:srgbClr val="FFFFFF"/>
              </a:solidFill>
            </a:endParaRPr>
          </a:p>
          <a:p>
            <a:pPr lvl="0" fontAlgn="base"/>
            <a:r>
              <a:rPr lang="en-US" sz="2400" dirty="0">
                <a:solidFill>
                  <a:srgbClr val="FFFFFF"/>
                </a:solidFill>
              </a:rPr>
              <a:t>Design for </a:t>
            </a:r>
            <a:r>
              <a:rPr lang="en-US" sz="2400" dirty="0" err="1">
                <a:solidFill>
                  <a:srgbClr val="FFFFFF"/>
                </a:solidFill>
              </a:rPr>
              <a:t>CosmosDB</a:t>
            </a:r>
            <a:r>
              <a:rPr lang="en-US" sz="2400" dirty="0">
                <a:solidFill>
                  <a:srgbClr val="FFFFFF"/>
                </a:solidFill>
              </a:rPr>
              <a:t> storage </a:t>
            </a:r>
          </a:p>
          <a:p>
            <a:pPr lvl="0" fontAlgn="base"/>
            <a:r>
              <a:rPr lang="en-US" sz="1400" dirty="0">
                <a:solidFill>
                  <a:srgbClr val="FFFFFF"/>
                </a:solidFill>
              </a:rPr>
              <a:t>Determine when to use MongoDB API, Azure Cosmos DB SQL API, Graph API, Azure Tables API; design for cost, performance, data consistency, availability, and business continuity</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161627568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TiB</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How to Secure Azure SQL DB</a:t>
            </a:r>
          </a:p>
        </p:txBody>
      </p:sp>
      <p:sp>
        <p:nvSpPr>
          <p:cNvPr id="25" name="TextBox 24">
            <a:extLst>
              <a:ext uri="{FF2B5EF4-FFF2-40B4-BE49-F238E27FC236}">
                <a16:creationId xmlns:a16="http://schemas.microsoft.com/office/drawing/2014/main" id="{B59F4C39-06BF-4A5E-9D13-15072AE82C96}"/>
              </a:ext>
            </a:extLst>
          </p:cNvPr>
          <p:cNvSpPr txBox="1"/>
          <p:nvPr/>
        </p:nvSpPr>
        <p:spPr>
          <a:xfrm>
            <a:off x="205099" y="1289717"/>
            <a:ext cx="9502923" cy="5736955"/>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twork Accessibility</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Integration with Azure VNETs</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Firewall rules for internet acces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cess Control</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figure SQL Admi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figure Azure AD Admi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C00000"/>
                </a:solidFill>
                <a:effectLst/>
                <a:uLnTx/>
                <a:uFillTx/>
                <a:latin typeface="Segoe UI Light"/>
                <a:ea typeface="+mn-ea"/>
                <a:cs typeface="+mn-cs"/>
              </a:rPr>
              <a:t>Enforce management access with MFA</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row-level security</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contained DB users for routine management acces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Protection</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Enforce transparent data encryption for each DB</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Enforce SQL DB Audit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Dynamic Data Mask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Data Discovery &amp; Classification</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urity Monitoring</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onsider SQL Threat Detection ($15/server/month)</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Periodically run built-in vulnerability assessment service</a:t>
            </a:r>
          </a:p>
        </p:txBody>
      </p:sp>
    </p:spTree>
    <p:extLst>
      <p:ext uri="{BB962C8B-B14F-4D97-AF65-F5344CB8AC3E}">
        <p14:creationId xmlns:p14="http://schemas.microsoft.com/office/powerpoint/2010/main" val="156216495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QL DB VNET Integration</a:t>
            </a:r>
          </a:p>
        </p:txBody>
      </p:sp>
      <p:pic>
        <p:nvPicPr>
          <p:cNvPr id="10" name="Picture 9" descr="A screenshot of a cell phone&#10;&#10;Description generated with very high confidence">
            <a:extLst>
              <a:ext uri="{FF2B5EF4-FFF2-40B4-BE49-F238E27FC236}">
                <a16:creationId xmlns:a16="http://schemas.microsoft.com/office/drawing/2014/main" id="{9667835C-0A15-478B-BD30-8D9E4237B2ED}"/>
              </a:ext>
            </a:extLst>
          </p:cNvPr>
          <p:cNvPicPr>
            <a:picLocks noChangeAspect="1"/>
          </p:cNvPicPr>
          <p:nvPr/>
        </p:nvPicPr>
        <p:blipFill>
          <a:blip r:embed="rId3"/>
          <a:stretch>
            <a:fillRect/>
          </a:stretch>
        </p:blipFill>
        <p:spPr>
          <a:xfrm>
            <a:off x="348571" y="1384419"/>
            <a:ext cx="6437055" cy="5609608"/>
          </a:xfrm>
          <a:prstGeom prst="rect">
            <a:avLst/>
          </a:prstGeom>
        </p:spPr>
      </p:pic>
      <p:sp>
        <p:nvSpPr>
          <p:cNvPr id="11" name="TextBox 10">
            <a:extLst>
              <a:ext uri="{FF2B5EF4-FFF2-40B4-BE49-F238E27FC236}">
                <a16:creationId xmlns:a16="http://schemas.microsoft.com/office/drawing/2014/main" id="{FC93D561-7F2A-4FFC-A765-2A7F59DE16E7}"/>
              </a:ext>
            </a:extLst>
          </p:cNvPr>
          <p:cNvSpPr txBox="1"/>
          <p:nvPr/>
        </p:nvSpPr>
        <p:spPr>
          <a:xfrm>
            <a:off x="7657028" y="2554493"/>
            <a:ext cx="445470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4"/>
              </a:rPr>
              <a:t>NSG Service Tag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78F67FDD-97BA-4877-AD9E-9900FBFFA7DF}"/>
              </a:ext>
            </a:extLst>
          </p:cNvPr>
          <p:cNvSpPr txBox="1"/>
          <p:nvPr/>
        </p:nvSpPr>
        <p:spPr>
          <a:xfrm>
            <a:off x="7657028" y="3182357"/>
            <a:ext cx="445470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VNET Service Endpoint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7" name="Rectangle 16">
            <a:extLst>
              <a:ext uri="{FF2B5EF4-FFF2-40B4-BE49-F238E27FC236}">
                <a16:creationId xmlns:a16="http://schemas.microsoft.com/office/drawing/2014/main" id="{8835584B-3778-4D94-BD28-5262F5F76708}"/>
              </a:ext>
            </a:extLst>
          </p:cNvPr>
          <p:cNvSpPr/>
          <p:nvPr/>
        </p:nvSpPr>
        <p:spPr bwMode="auto">
          <a:xfrm>
            <a:off x="2709016" y="2597223"/>
            <a:ext cx="1145136" cy="701454"/>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42DCB506-A587-445C-8C46-6C56EB0EBC09}"/>
              </a:ext>
            </a:extLst>
          </p:cNvPr>
          <p:cNvSpPr txBox="1"/>
          <p:nvPr/>
        </p:nvSpPr>
        <p:spPr>
          <a:xfrm>
            <a:off x="7657028" y="3810221"/>
            <a:ext cx="445470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VNET Rules for Azure SQL DB</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5" name="TextBox 14">
            <a:extLst>
              <a:ext uri="{FF2B5EF4-FFF2-40B4-BE49-F238E27FC236}">
                <a16:creationId xmlns:a16="http://schemas.microsoft.com/office/drawing/2014/main" id="{D931518B-EF0B-47F8-A7F5-1053A3178425}"/>
              </a:ext>
            </a:extLst>
          </p:cNvPr>
          <p:cNvSpPr txBox="1"/>
          <p:nvPr/>
        </p:nvSpPr>
        <p:spPr>
          <a:xfrm>
            <a:off x="2618515" y="2505272"/>
            <a:ext cx="1333143"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Service Tags</a:t>
            </a:r>
          </a:p>
        </p:txBody>
      </p:sp>
      <p:pic>
        <p:nvPicPr>
          <p:cNvPr id="16" name="Picture 15">
            <a:extLst>
              <a:ext uri="{FF2B5EF4-FFF2-40B4-BE49-F238E27FC236}">
                <a16:creationId xmlns:a16="http://schemas.microsoft.com/office/drawing/2014/main" id="{BAAA55C4-F2BB-4913-A0ED-938609B18974}"/>
              </a:ext>
            </a:extLst>
          </p:cNvPr>
          <p:cNvPicPr>
            <a:picLocks noChangeAspect="1"/>
          </p:cNvPicPr>
          <p:nvPr/>
        </p:nvPicPr>
        <p:blipFill>
          <a:blip r:embed="rId6"/>
          <a:stretch>
            <a:fillRect/>
          </a:stretch>
        </p:blipFill>
        <p:spPr>
          <a:xfrm>
            <a:off x="3113171" y="2844657"/>
            <a:ext cx="302618" cy="380430"/>
          </a:xfrm>
          <a:prstGeom prst="rect">
            <a:avLst/>
          </a:prstGeom>
        </p:spPr>
      </p:pic>
      <p:sp>
        <p:nvSpPr>
          <p:cNvPr id="18" name="Rectangle 17">
            <a:extLst>
              <a:ext uri="{FF2B5EF4-FFF2-40B4-BE49-F238E27FC236}">
                <a16:creationId xmlns:a16="http://schemas.microsoft.com/office/drawing/2014/main" id="{C5C0D114-057E-480C-889A-5BF5DE06B5D4}"/>
              </a:ext>
            </a:extLst>
          </p:cNvPr>
          <p:cNvSpPr/>
          <p:nvPr/>
        </p:nvSpPr>
        <p:spPr bwMode="auto">
          <a:xfrm>
            <a:off x="3187580" y="3502224"/>
            <a:ext cx="1333143" cy="701454"/>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A6F9A0E4-8D3C-41FC-BDAB-01A53E25B0D5}"/>
              </a:ext>
            </a:extLst>
          </p:cNvPr>
          <p:cNvSpPr/>
          <p:nvPr/>
        </p:nvSpPr>
        <p:spPr bwMode="auto">
          <a:xfrm>
            <a:off x="2389352" y="2749507"/>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0" name="Oval 19">
            <a:extLst>
              <a:ext uri="{FF2B5EF4-FFF2-40B4-BE49-F238E27FC236}">
                <a16:creationId xmlns:a16="http://schemas.microsoft.com/office/drawing/2014/main" id="{B61231BD-9E48-4A92-B33C-E9A97CCAC87C}"/>
              </a:ext>
            </a:extLst>
          </p:cNvPr>
          <p:cNvSpPr/>
          <p:nvPr/>
        </p:nvSpPr>
        <p:spPr bwMode="auto">
          <a:xfrm>
            <a:off x="2839751" y="3695848"/>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1" name="Oval 20">
            <a:extLst>
              <a:ext uri="{FF2B5EF4-FFF2-40B4-BE49-F238E27FC236}">
                <a16:creationId xmlns:a16="http://schemas.microsoft.com/office/drawing/2014/main" id="{BBB6C17D-FCE4-42F9-9C03-7BBE25703E79}"/>
              </a:ext>
            </a:extLst>
          </p:cNvPr>
          <p:cNvSpPr/>
          <p:nvPr/>
        </p:nvSpPr>
        <p:spPr bwMode="auto">
          <a:xfrm>
            <a:off x="4172882" y="4549617"/>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22" name="Oval 21">
            <a:extLst>
              <a:ext uri="{FF2B5EF4-FFF2-40B4-BE49-F238E27FC236}">
                <a16:creationId xmlns:a16="http://schemas.microsoft.com/office/drawing/2014/main" id="{E5F74205-2C61-4EFB-BFEB-2CF2FF74D56E}"/>
              </a:ext>
            </a:extLst>
          </p:cNvPr>
          <p:cNvSpPr/>
          <p:nvPr/>
        </p:nvSpPr>
        <p:spPr bwMode="auto">
          <a:xfrm>
            <a:off x="7356125" y="2697302"/>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3" name="Oval 22">
            <a:extLst>
              <a:ext uri="{FF2B5EF4-FFF2-40B4-BE49-F238E27FC236}">
                <a16:creationId xmlns:a16="http://schemas.microsoft.com/office/drawing/2014/main" id="{F39CFF22-3D56-417D-9FC2-BEDCE688204A}"/>
              </a:ext>
            </a:extLst>
          </p:cNvPr>
          <p:cNvSpPr/>
          <p:nvPr/>
        </p:nvSpPr>
        <p:spPr bwMode="auto">
          <a:xfrm>
            <a:off x="7356125" y="3325166"/>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4" name="Oval 23">
            <a:extLst>
              <a:ext uri="{FF2B5EF4-FFF2-40B4-BE49-F238E27FC236}">
                <a16:creationId xmlns:a16="http://schemas.microsoft.com/office/drawing/2014/main" id="{E03D377C-031B-495D-B4A6-6D662CBCD499}"/>
              </a:ext>
            </a:extLst>
          </p:cNvPr>
          <p:cNvSpPr/>
          <p:nvPr/>
        </p:nvSpPr>
        <p:spPr bwMode="auto">
          <a:xfrm>
            <a:off x="7356125" y="3962505"/>
            <a:ext cx="347828" cy="323296"/>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pic>
        <p:nvPicPr>
          <p:cNvPr id="25" name="Picture 24">
            <a:hlinkClick r:id="rId7"/>
            <a:extLst>
              <a:ext uri="{FF2B5EF4-FFF2-40B4-BE49-F238E27FC236}">
                <a16:creationId xmlns:a16="http://schemas.microsoft.com/office/drawing/2014/main" id="{82B9E076-939C-498E-A677-E702BD179485}"/>
              </a:ext>
            </a:extLst>
          </p:cNvPr>
          <p:cNvPicPr>
            <a:picLocks noChangeAspect="1"/>
          </p:cNvPicPr>
          <p:nvPr/>
        </p:nvPicPr>
        <p:blipFill>
          <a:blip r:embed="rId8"/>
          <a:stretch>
            <a:fillRect/>
          </a:stretch>
        </p:blipFill>
        <p:spPr>
          <a:xfrm>
            <a:off x="6785626" y="566008"/>
            <a:ext cx="351979" cy="158197"/>
          </a:xfrm>
          <a:prstGeom prst="rect">
            <a:avLst/>
          </a:prstGeom>
        </p:spPr>
      </p:pic>
    </p:spTree>
    <p:extLst>
      <p:ext uri="{BB962C8B-B14F-4D97-AF65-F5344CB8AC3E}">
        <p14:creationId xmlns:p14="http://schemas.microsoft.com/office/powerpoint/2010/main" val="447783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QL DB Network Firewalls</a:t>
            </a:r>
          </a:p>
        </p:txBody>
      </p:sp>
      <p:pic>
        <p:nvPicPr>
          <p:cNvPr id="5" name="Picture 4" descr="A close up of a map&#10;&#10;Description generated with high confidence">
            <a:extLst>
              <a:ext uri="{FF2B5EF4-FFF2-40B4-BE49-F238E27FC236}">
                <a16:creationId xmlns:a16="http://schemas.microsoft.com/office/drawing/2014/main" id="{23ECEAA3-947D-41C0-A03F-F72FCB6A12E4}"/>
              </a:ext>
            </a:extLst>
          </p:cNvPr>
          <p:cNvPicPr>
            <a:picLocks noChangeAspect="1"/>
          </p:cNvPicPr>
          <p:nvPr/>
        </p:nvPicPr>
        <p:blipFill>
          <a:blip r:embed="rId3"/>
          <a:stretch>
            <a:fillRect/>
          </a:stretch>
        </p:blipFill>
        <p:spPr>
          <a:xfrm>
            <a:off x="1300334" y="1334238"/>
            <a:ext cx="3921146" cy="5597033"/>
          </a:xfrm>
          <a:prstGeom prst="rect">
            <a:avLst/>
          </a:prstGeom>
        </p:spPr>
      </p:pic>
      <p:sp>
        <p:nvSpPr>
          <p:cNvPr id="2" name="TextBox 1">
            <a:extLst>
              <a:ext uri="{FF2B5EF4-FFF2-40B4-BE49-F238E27FC236}">
                <a16:creationId xmlns:a16="http://schemas.microsoft.com/office/drawing/2014/main" id="{9258EB66-B913-4489-BDC7-410B1878830D}"/>
              </a:ext>
            </a:extLst>
          </p:cNvPr>
          <p:cNvSpPr txBox="1"/>
          <p:nvPr/>
        </p:nvSpPr>
        <p:spPr>
          <a:xfrm>
            <a:off x="6034301" y="1706002"/>
            <a:ext cx="6092180" cy="1791260"/>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icrosoft recommends using database-level firewall rules whenever possible to enhance security and to make your database more portable. Use server-level firewall rules for administrators and when you have many databases that have the same access requirements and you don't want to spend time configuring each database individually.</a:t>
            </a:r>
          </a:p>
        </p:txBody>
      </p:sp>
      <p:pic>
        <p:nvPicPr>
          <p:cNvPr id="7" name="Picture 6">
            <a:hlinkClick r:id="rId4"/>
            <a:extLst>
              <a:ext uri="{FF2B5EF4-FFF2-40B4-BE49-F238E27FC236}">
                <a16:creationId xmlns:a16="http://schemas.microsoft.com/office/drawing/2014/main" id="{CD969AAE-D325-4F83-9A67-E739FF63C985}"/>
              </a:ext>
            </a:extLst>
          </p:cNvPr>
          <p:cNvPicPr>
            <a:picLocks noChangeAspect="1"/>
          </p:cNvPicPr>
          <p:nvPr/>
        </p:nvPicPr>
        <p:blipFill>
          <a:blip r:embed="rId5"/>
          <a:stretch>
            <a:fillRect/>
          </a:stretch>
        </p:blipFill>
        <p:spPr>
          <a:xfrm>
            <a:off x="8568279" y="566008"/>
            <a:ext cx="351979" cy="158197"/>
          </a:xfrm>
          <a:prstGeom prst="rect">
            <a:avLst/>
          </a:prstGeom>
        </p:spPr>
      </p:pic>
    </p:spTree>
    <p:extLst>
      <p:ext uri="{BB962C8B-B14F-4D97-AF65-F5344CB8AC3E}">
        <p14:creationId xmlns:p14="http://schemas.microsoft.com/office/powerpoint/2010/main" val="34675689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QL DB Authentication</a:t>
            </a:r>
          </a:p>
        </p:txBody>
      </p:sp>
      <p:pic>
        <p:nvPicPr>
          <p:cNvPr id="7" name="Picture 6" descr="A screenshot of a cell phone&#10;&#10;Description generated with very high confidence">
            <a:extLst>
              <a:ext uri="{FF2B5EF4-FFF2-40B4-BE49-F238E27FC236}">
                <a16:creationId xmlns:a16="http://schemas.microsoft.com/office/drawing/2014/main" id="{6EB284B8-0264-4B29-9547-4B523FCEE106}"/>
              </a:ext>
            </a:extLst>
          </p:cNvPr>
          <p:cNvPicPr>
            <a:picLocks noChangeAspect="1"/>
          </p:cNvPicPr>
          <p:nvPr/>
        </p:nvPicPr>
        <p:blipFill>
          <a:blip r:embed="rId3"/>
          <a:stretch>
            <a:fillRect/>
          </a:stretch>
        </p:blipFill>
        <p:spPr>
          <a:xfrm>
            <a:off x="7240320" y="2458300"/>
            <a:ext cx="4245540" cy="280314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8FA53181-D0DA-4C4B-9B87-C89E5276CC60}"/>
              </a:ext>
            </a:extLst>
          </p:cNvPr>
          <p:cNvPicPr>
            <a:picLocks noChangeAspect="1"/>
          </p:cNvPicPr>
          <p:nvPr/>
        </p:nvPicPr>
        <p:blipFill>
          <a:blip r:embed="rId4"/>
          <a:stretch>
            <a:fillRect/>
          </a:stretch>
        </p:blipFill>
        <p:spPr>
          <a:xfrm>
            <a:off x="775237" y="2458300"/>
            <a:ext cx="5443000" cy="2895676"/>
          </a:xfrm>
          <a:prstGeom prst="rect">
            <a:avLst/>
          </a:prstGeom>
        </p:spPr>
      </p:pic>
      <p:sp>
        <p:nvSpPr>
          <p:cNvPr id="11" name="TextBox 10">
            <a:extLst>
              <a:ext uri="{FF2B5EF4-FFF2-40B4-BE49-F238E27FC236}">
                <a16:creationId xmlns:a16="http://schemas.microsoft.com/office/drawing/2014/main" id="{BB0EECB9-E36F-49D7-96E4-9FD5C6E15874}"/>
              </a:ext>
            </a:extLst>
          </p:cNvPr>
          <p:cNvSpPr txBox="1"/>
          <p:nvPr/>
        </p:nvSpPr>
        <p:spPr>
          <a:xfrm>
            <a:off x="775237" y="1830436"/>
            <a:ext cx="544300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5"/>
              </a:rPr>
              <a:t>Administrator Access Path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3A6E02E8-3591-4ACB-AD96-ED5E554B2FD0}"/>
              </a:ext>
            </a:extLst>
          </p:cNvPr>
          <p:cNvSpPr txBox="1"/>
          <p:nvPr/>
        </p:nvSpPr>
        <p:spPr>
          <a:xfrm>
            <a:off x="7022558" y="1830436"/>
            <a:ext cx="468106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6"/>
              </a:rPr>
              <a:t>SSMS Universal Authentication</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8" name="Picture 7">
            <a:hlinkClick r:id="rId5"/>
            <a:extLst>
              <a:ext uri="{FF2B5EF4-FFF2-40B4-BE49-F238E27FC236}">
                <a16:creationId xmlns:a16="http://schemas.microsoft.com/office/drawing/2014/main" id="{E0AB7FBA-BE7A-4A22-8A76-00747BE64D7F}"/>
              </a:ext>
            </a:extLst>
          </p:cNvPr>
          <p:cNvPicPr>
            <a:picLocks noChangeAspect="1"/>
          </p:cNvPicPr>
          <p:nvPr/>
        </p:nvPicPr>
        <p:blipFill>
          <a:blip r:embed="rId7"/>
          <a:stretch>
            <a:fillRect/>
          </a:stretch>
        </p:blipFill>
        <p:spPr>
          <a:xfrm>
            <a:off x="7852909" y="566008"/>
            <a:ext cx="351979" cy="158197"/>
          </a:xfrm>
          <a:prstGeom prst="rect">
            <a:avLst/>
          </a:prstGeom>
        </p:spPr>
      </p:pic>
    </p:spTree>
    <p:extLst>
      <p:ext uri="{BB962C8B-B14F-4D97-AF65-F5344CB8AC3E}">
        <p14:creationId xmlns:p14="http://schemas.microsoft.com/office/powerpoint/2010/main" val="148138666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6661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u</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4234064" y="4561674"/>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3344096" y="257827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sp>
        <p:nvSpPr>
          <p:cNvPr id="2" name="Rectangle 1">
            <a:extLst>
              <a:ext uri="{FF2B5EF4-FFF2-40B4-BE49-F238E27FC236}">
                <a16:creationId xmlns:a16="http://schemas.microsoft.com/office/drawing/2014/main" id="{A6A90E27-C346-4620-B3A4-10CB91E44C77}"/>
              </a:ext>
            </a:extLst>
          </p:cNvPr>
          <p:cNvSpPr/>
          <p:nvPr/>
        </p:nvSpPr>
        <p:spPr bwMode="auto">
          <a:xfrm>
            <a:off x="2445575" y="399642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2348239" y="3977921"/>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2349982" y="4931812"/>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3355881" y="3977921"/>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3354138" y="4931812"/>
            <a:ext cx="1031605" cy="1029575"/>
          </a:xfrm>
          <a:prstGeom prst="rect">
            <a:avLst/>
          </a:prstGeom>
        </p:spPr>
      </p:pic>
    </p:spTree>
    <p:extLst>
      <p:ext uri="{BB962C8B-B14F-4D97-AF65-F5344CB8AC3E}">
        <p14:creationId xmlns:p14="http://schemas.microsoft.com/office/powerpoint/2010/main" val="331040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2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51796727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latin typeface="Segoe UI Light"/>
              </a:rPr>
              <a:t>Why </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 Scenarios</a:t>
            </a: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 Scenarios</a:t>
            </a:r>
          </a:p>
        </p:txBody>
      </p:sp>
      <p:pic>
        <p:nvPicPr>
          <p:cNvPr id="6" name="Picture 5">
            <a:extLst>
              <a:ext uri="{FF2B5EF4-FFF2-40B4-BE49-F238E27FC236}">
                <a16:creationId xmlns:a16="http://schemas.microsoft.com/office/drawing/2014/main" id="{5A8212A9-C132-4E90-978E-48FD7586BC2E}"/>
              </a:ext>
            </a:extLst>
          </p:cNvPr>
          <p:cNvPicPr>
            <a:picLocks noChangeAspect="1"/>
          </p:cNvPicPr>
          <p:nvPr/>
        </p:nvPicPr>
        <p:blipFill>
          <a:blip r:embed="rId3"/>
          <a:stretch>
            <a:fillRect/>
          </a:stretch>
        </p:blipFill>
        <p:spPr>
          <a:xfrm>
            <a:off x="1433164" y="1367538"/>
            <a:ext cx="9199168" cy="5545715"/>
          </a:xfrm>
          <a:prstGeom prst="rect">
            <a:avLst/>
          </a:prstGeom>
        </p:spPr>
      </p:pic>
    </p:spTree>
    <p:extLst>
      <p:ext uri="{BB962C8B-B14F-4D97-AF65-F5344CB8AC3E}">
        <p14:creationId xmlns:p14="http://schemas.microsoft.com/office/powerpoint/2010/main" val="103040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Summary –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 Summary</a:t>
            </a:r>
          </a:p>
        </p:txBody>
      </p:sp>
      <p:graphicFrame>
        <p:nvGraphicFramePr>
          <p:cNvPr id="6" name="Table 5">
            <a:extLst>
              <a:ext uri="{FF2B5EF4-FFF2-40B4-BE49-F238E27FC236}">
                <a16:creationId xmlns:a16="http://schemas.microsoft.com/office/drawing/2014/main" id="{5491E71E-0713-4876-A481-B1225F61568D}"/>
              </a:ext>
            </a:extLst>
          </p:cNvPr>
          <p:cNvGraphicFramePr>
            <a:graphicFrameLocks noGrp="1"/>
          </p:cNvGraphicFramePr>
          <p:nvPr>
            <p:extLst>
              <p:ext uri="{D42A27DB-BD31-4B8C-83A1-F6EECF244321}">
                <p14:modId xmlns:p14="http://schemas.microsoft.com/office/powerpoint/2010/main" val="1081170852"/>
              </p:ext>
            </p:extLst>
          </p:nvPr>
        </p:nvGraphicFramePr>
        <p:xfrm>
          <a:off x="483929" y="1403663"/>
          <a:ext cx="11468616" cy="5590364"/>
        </p:xfrm>
        <a:graphic>
          <a:graphicData uri="http://schemas.openxmlformats.org/drawingml/2006/table">
            <a:tbl>
              <a:tblPr firstRow="1" firstCol="1" bandRow="1">
                <a:tableStyleId>{5C22544A-7EE6-4342-B048-85BDC9FD1C3A}</a:tableStyleId>
              </a:tblPr>
              <a:tblGrid>
                <a:gridCol w="2366580">
                  <a:extLst>
                    <a:ext uri="{9D8B030D-6E8A-4147-A177-3AD203B41FA5}">
                      <a16:colId xmlns:a16="http://schemas.microsoft.com/office/drawing/2014/main" val="135596739"/>
                    </a:ext>
                  </a:extLst>
                </a:gridCol>
                <a:gridCol w="9102036">
                  <a:extLst>
                    <a:ext uri="{9D8B030D-6E8A-4147-A177-3AD203B41FA5}">
                      <a16:colId xmlns:a16="http://schemas.microsoft.com/office/drawing/2014/main" val="2528678495"/>
                    </a:ext>
                  </a:extLst>
                </a:gridCol>
              </a:tblGrid>
              <a:tr h="229710">
                <a:tc>
                  <a:txBody>
                    <a:bodyPr/>
                    <a:lstStyle/>
                    <a:p>
                      <a:pPr marL="0" marR="0">
                        <a:lnSpc>
                          <a:spcPct val="107000"/>
                        </a:lnSpc>
                        <a:spcBef>
                          <a:spcPts val="0"/>
                        </a:spcBef>
                        <a:spcAft>
                          <a:spcPts val="0"/>
                        </a:spcAft>
                      </a:pPr>
                      <a:r>
                        <a:rPr lang="en-US" sz="1800">
                          <a:effectLst/>
                        </a:rPr>
                        <a:t>Concept</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0" marR="0">
                        <a:lnSpc>
                          <a:spcPct val="107000"/>
                        </a:lnSpc>
                        <a:spcBef>
                          <a:spcPts val="0"/>
                        </a:spcBef>
                        <a:spcAft>
                          <a:spcPts val="0"/>
                        </a:spcAft>
                      </a:pPr>
                      <a:r>
                        <a:rPr lang="en-US" sz="1800" dirty="0">
                          <a:effectLst/>
                        </a:rPr>
                        <a:t>Descrip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3777594510"/>
                  </a:ext>
                </a:extLst>
              </a:tr>
              <a:tr h="2227296">
                <a:tc>
                  <a:txBody>
                    <a:bodyPr/>
                    <a:lstStyle/>
                    <a:p>
                      <a:pPr marL="0" marR="0">
                        <a:lnSpc>
                          <a:spcPct val="107000"/>
                        </a:lnSpc>
                        <a:spcBef>
                          <a:spcPts val="0"/>
                        </a:spcBef>
                        <a:spcAft>
                          <a:spcPts val="0"/>
                        </a:spcAft>
                      </a:pPr>
                      <a:r>
                        <a:rPr lang="en-US" sz="1800" dirty="0">
                          <a:effectLst/>
                        </a:rPr>
                        <a:t>Feature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u="sng" dirty="0">
                          <a:effectLst/>
                        </a:rPr>
                        <a:t>Partitioning</a:t>
                      </a:r>
                      <a:r>
                        <a:rPr lang="en-US" sz="1200" dirty="0">
                          <a:effectLst/>
                        </a:rPr>
                        <a:t>: containers or sets create resource partitions that reserve throughput via Request Units per second</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Global</a:t>
                      </a:r>
                      <a:r>
                        <a:rPr lang="en-US" sz="1200" dirty="0">
                          <a:effectLst/>
                        </a:rPr>
                        <a:t> </a:t>
                      </a:r>
                      <a:r>
                        <a:rPr lang="en-US" sz="1200" u="sng" dirty="0">
                          <a:effectLst/>
                        </a:rPr>
                        <a:t>Distribution</a:t>
                      </a:r>
                      <a:r>
                        <a:rPr lang="en-US" sz="1200" dirty="0">
                          <a:effectLst/>
                        </a:rPr>
                        <a:t>: turnkey, unlimited, multi-region DB with resource partitions distributed to each region</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Multi-Master Support (Preview)</a:t>
                      </a:r>
                      <a:r>
                        <a:rPr lang="en-US" sz="1200" dirty="0">
                          <a:effectLst/>
                        </a:rPr>
                        <a:t>: write to different masters with updates propagating asynchronously</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Multi-homing</a:t>
                      </a:r>
                      <a:r>
                        <a:rPr lang="en-US" sz="1200" dirty="0">
                          <a:effectLst/>
                        </a:rPr>
                        <a:t> </a:t>
                      </a:r>
                      <a:r>
                        <a:rPr lang="en-US" sz="1200" u="sng" dirty="0">
                          <a:effectLst/>
                        </a:rPr>
                        <a:t>APIs</a:t>
                      </a:r>
                      <a:r>
                        <a:rPr lang="en-US" sz="1200" dirty="0">
                          <a:effectLst/>
                        </a:rPr>
                        <a:t>: send request to nearest data center based on distribution</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Throughput</a:t>
                      </a:r>
                      <a:r>
                        <a:rPr lang="en-US" sz="1200" dirty="0">
                          <a:effectLst/>
                        </a:rPr>
                        <a:t>: guaranteed end-to-end low latency</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Availability</a:t>
                      </a:r>
                      <a:r>
                        <a:rPr lang="en-US" sz="1200" dirty="0">
                          <a:effectLst/>
                        </a:rPr>
                        <a:t>: ensure “always on” availability with automatic failover and 99.99% SLA</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Backup</a:t>
                      </a:r>
                      <a:r>
                        <a:rPr lang="en-US" sz="1200" dirty="0">
                          <a:effectLst/>
                        </a:rPr>
                        <a:t>: automatic full backups every 4 hours with last 2 copies retained, in background not affecting RU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Consistency</a:t>
                      </a:r>
                      <a:r>
                        <a:rPr lang="en-US" sz="1200" dirty="0">
                          <a:effectLst/>
                        </a:rPr>
                        <a:t>: five consistency models for increased flexibility</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Unique</a:t>
                      </a:r>
                      <a:r>
                        <a:rPr lang="en-US" sz="1200" dirty="0">
                          <a:effectLst/>
                        </a:rPr>
                        <a:t> </a:t>
                      </a:r>
                      <a:r>
                        <a:rPr lang="en-US" sz="1200" u="sng" dirty="0">
                          <a:effectLst/>
                        </a:rPr>
                        <a:t>Keys</a:t>
                      </a:r>
                      <a:r>
                        <a:rPr lang="en-US" sz="1200" dirty="0">
                          <a:effectLst/>
                        </a:rPr>
                        <a:t>: define partition keys and row keys for stronger data integrity and designed for massive scale</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Multitenancy</a:t>
                      </a:r>
                      <a:r>
                        <a:rPr lang="en-US" sz="1200" dirty="0">
                          <a:effectLst/>
                        </a:rPr>
                        <a:t>:  one partition key or one container per tenant</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Multi-Schema</a:t>
                      </a:r>
                      <a:r>
                        <a:rPr lang="en-US" sz="1200" dirty="0">
                          <a:effectLst/>
                        </a:rPr>
                        <a:t>: schema agnostic database engine that automatically indexes all the data it inges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2522340775"/>
                  </a:ext>
                </a:extLst>
              </a:tr>
              <a:tr h="734062">
                <a:tc>
                  <a:txBody>
                    <a:bodyPr/>
                    <a:lstStyle/>
                    <a:p>
                      <a:pPr marL="0" marR="0">
                        <a:lnSpc>
                          <a:spcPct val="107000"/>
                        </a:lnSpc>
                        <a:spcBef>
                          <a:spcPts val="0"/>
                        </a:spcBef>
                        <a:spcAft>
                          <a:spcPts val="0"/>
                        </a:spcAft>
                      </a:pPr>
                      <a:r>
                        <a:rPr lang="en-US" sz="1800">
                          <a:effectLst/>
                        </a:rPr>
                        <a:t>Resource Model</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u="sng">
                          <a:effectLst/>
                        </a:rPr>
                        <a:t>Container</a:t>
                      </a:r>
                      <a:r>
                        <a:rPr lang="en-US" sz="1200">
                          <a:effectLst/>
                        </a:rPr>
                        <a:t>: logical resources that can span one or more physical partitions identified by partition keys</a:t>
                      </a:r>
                    </a:p>
                    <a:p>
                      <a:pPr marL="342900" marR="0" lvl="0" indent="-342900">
                        <a:lnSpc>
                          <a:spcPct val="107000"/>
                        </a:lnSpc>
                        <a:spcBef>
                          <a:spcPts val="0"/>
                        </a:spcBef>
                        <a:spcAft>
                          <a:spcPts val="0"/>
                        </a:spcAft>
                        <a:buFont typeface="Symbol" panose="05050102010706020507" pitchFamily="18" charset="2"/>
                        <a:buChar char=""/>
                      </a:pPr>
                      <a:r>
                        <a:rPr lang="en-US" sz="1200" u="sng">
                          <a:effectLst/>
                        </a:rPr>
                        <a:t>Collections</a:t>
                      </a:r>
                      <a:r>
                        <a:rPr lang="en-US" sz="1200">
                          <a:effectLst/>
                        </a:rPr>
                        <a:t>: data resources for documents (SQL API, MongoDB API)</a:t>
                      </a:r>
                    </a:p>
                    <a:p>
                      <a:pPr marL="342900" marR="0" lvl="0" indent="-342900">
                        <a:lnSpc>
                          <a:spcPct val="107000"/>
                        </a:lnSpc>
                        <a:spcBef>
                          <a:spcPts val="0"/>
                        </a:spcBef>
                        <a:spcAft>
                          <a:spcPts val="0"/>
                        </a:spcAft>
                        <a:buFont typeface="Symbol" panose="05050102010706020507" pitchFamily="18" charset="2"/>
                        <a:buChar char=""/>
                      </a:pPr>
                      <a:r>
                        <a:rPr lang="en-US" sz="1200" u="sng">
                          <a:effectLst/>
                        </a:rPr>
                        <a:t>Graphs</a:t>
                      </a:r>
                      <a:r>
                        <a:rPr lang="en-US" sz="1200">
                          <a:effectLst/>
                        </a:rPr>
                        <a:t>: data resources for Gremlin API, Graph API</a:t>
                      </a:r>
                    </a:p>
                    <a:p>
                      <a:pPr marL="342900" marR="0" lvl="0" indent="-342900">
                        <a:lnSpc>
                          <a:spcPct val="107000"/>
                        </a:lnSpc>
                        <a:spcBef>
                          <a:spcPts val="0"/>
                        </a:spcBef>
                        <a:spcAft>
                          <a:spcPts val="0"/>
                        </a:spcAft>
                        <a:buFont typeface="Symbol" panose="05050102010706020507" pitchFamily="18" charset="2"/>
                        <a:buChar char=""/>
                      </a:pPr>
                      <a:r>
                        <a:rPr lang="en-US" sz="1200" u="sng">
                          <a:effectLst/>
                        </a:rPr>
                        <a:t>Tables</a:t>
                      </a:r>
                      <a:r>
                        <a:rPr lang="en-US" sz="1200">
                          <a:effectLst/>
                        </a:rPr>
                        <a:t>: data resources for Table API, Cassandra API</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2303900419"/>
                  </a:ext>
                </a:extLst>
              </a:tr>
              <a:tr h="2227296">
                <a:tc>
                  <a:txBody>
                    <a:bodyPr/>
                    <a:lstStyle/>
                    <a:p>
                      <a:pPr marL="0" marR="0">
                        <a:lnSpc>
                          <a:spcPct val="107000"/>
                        </a:lnSpc>
                        <a:spcBef>
                          <a:spcPts val="0"/>
                        </a:spcBef>
                        <a:spcAft>
                          <a:spcPts val="0"/>
                        </a:spcAft>
                      </a:pPr>
                      <a:r>
                        <a:rPr lang="en-US" sz="1800" dirty="0">
                          <a:effectLst/>
                        </a:rPr>
                        <a:t>SQL API Mode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u="sng" dirty="0">
                          <a:effectLst/>
                        </a:rPr>
                        <a:t>Database Account</a:t>
                      </a:r>
                      <a:r>
                        <a:rPr lang="en-US" sz="1200" dirty="0">
                          <a:effectLst/>
                        </a:rPr>
                        <a:t>: a set of databases and a fixed amount of blob storage for attachment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Database</a:t>
                      </a:r>
                      <a:r>
                        <a:rPr lang="en-US" sz="1200" dirty="0">
                          <a:effectLst/>
                        </a:rPr>
                        <a:t>: logical container of document storage partitioned across collections; also a users container</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User</a:t>
                      </a:r>
                      <a:r>
                        <a:rPr lang="en-US" sz="1200" dirty="0">
                          <a:effectLst/>
                        </a:rPr>
                        <a:t>: logical namespace for scoping permission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Permission</a:t>
                      </a:r>
                      <a:r>
                        <a:rPr lang="en-US" sz="1200" dirty="0">
                          <a:effectLst/>
                        </a:rPr>
                        <a:t>: authorization token associated with a user for access to a specific resource</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Collection</a:t>
                      </a:r>
                      <a:r>
                        <a:rPr lang="en-US" sz="1200" dirty="0">
                          <a:effectLst/>
                        </a:rPr>
                        <a:t>: a container of JSON docs and associated JavaScript logic; scale to unlimited storage or throughput</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Stored Procedure</a:t>
                      </a:r>
                      <a:r>
                        <a:rPr lang="en-US" sz="1200" dirty="0">
                          <a:effectLst/>
                        </a:rPr>
                        <a:t>: app logic in JavaScript which is registered with collection and executed within DB engine</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Trigger</a:t>
                      </a:r>
                      <a:r>
                        <a:rPr lang="en-US" sz="1200" dirty="0">
                          <a:effectLst/>
                        </a:rPr>
                        <a:t>: App logic in JavaScript executed before or after insert/replace/delete operation</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UDF</a:t>
                      </a:r>
                      <a:r>
                        <a:rPr lang="en-US" sz="1200" dirty="0">
                          <a:effectLst/>
                        </a:rPr>
                        <a:t>: App logic in JavaScript to model a custom query operator and extend the query language</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Document</a:t>
                      </a:r>
                      <a:r>
                        <a:rPr lang="en-US" sz="1200" dirty="0">
                          <a:effectLst/>
                        </a:rPr>
                        <a:t>: user defined JSON content; by default, no schema needed nor do secondary indice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Attachment</a:t>
                      </a:r>
                      <a:r>
                        <a:rPr lang="en-US" sz="1200" dirty="0">
                          <a:effectLst/>
                        </a:rPr>
                        <a:t>: a special doc containing references and </a:t>
                      </a:r>
                      <a:r>
                        <a:rPr lang="en-US" sz="1200" dirty="0" err="1">
                          <a:effectLst/>
                        </a:rPr>
                        <a:t>medata</a:t>
                      </a:r>
                      <a:r>
                        <a:rPr lang="en-US" sz="1200" dirty="0">
                          <a:effectLst/>
                        </a:rPr>
                        <a:t> for external blob/media managed or external</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1252827173"/>
                  </a:ext>
                </a:extLst>
              </a:tr>
            </a:tbl>
          </a:graphicData>
        </a:graphic>
      </p:graphicFrame>
    </p:spTree>
    <p:extLst>
      <p:ext uri="{BB962C8B-B14F-4D97-AF65-F5344CB8AC3E}">
        <p14:creationId xmlns:p14="http://schemas.microsoft.com/office/powerpoint/2010/main" val="51369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 Summary</a:t>
            </a:r>
          </a:p>
        </p:txBody>
      </p:sp>
      <p:graphicFrame>
        <p:nvGraphicFramePr>
          <p:cNvPr id="6" name="Table 5">
            <a:extLst>
              <a:ext uri="{FF2B5EF4-FFF2-40B4-BE49-F238E27FC236}">
                <a16:creationId xmlns:a16="http://schemas.microsoft.com/office/drawing/2014/main" id="{5491E71E-0713-4876-A481-B1225F61568D}"/>
              </a:ext>
            </a:extLst>
          </p:cNvPr>
          <p:cNvGraphicFramePr>
            <a:graphicFrameLocks noGrp="1"/>
          </p:cNvGraphicFramePr>
          <p:nvPr>
            <p:extLst>
              <p:ext uri="{D42A27DB-BD31-4B8C-83A1-F6EECF244321}">
                <p14:modId xmlns:p14="http://schemas.microsoft.com/office/powerpoint/2010/main" val="1801986190"/>
              </p:ext>
            </p:extLst>
          </p:nvPr>
        </p:nvGraphicFramePr>
        <p:xfrm>
          <a:off x="1394055" y="1580641"/>
          <a:ext cx="9648363" cy="5179082"/>
        </p:xfrm>
        <a:graphic>
          <a:graphicData uri="http://schemas.openxmlformats.org/drawingml/2006/table">
            <a:tbl>
              <a:tblPr firstRow="1" firstCol="1" bandRow="1">
                <a:tableStyleId>{5C22544A-7EE6-4342-B048-85BDC9FD1C3A}</a:tableStyleId>
              </a:tblPr>
              <a:tblGrid>
                <a:gridCol w="1803324">
                  <a:extLst>
                    <a:ext uri="{9D8B030D-6E8A-4147-A177-3AD203B41FA5}">
                      <a16:colId xmlns:a16="http://schemas.microsoft.com/office/drawing/2014/main" val="135596739"/>
                    </a:ext>
                  </a:extLst>
                </a:gridCol>
                <a:gridCol w="7845039">
                  <a:extLst>
                    <a:ext uri="{9D8B030D-6E8A-4147-A177-3AD203B41FA5}">
                      <a16:colId xmlns:a16="http://schemas.microsoft.com/office/drawing/2014/main" val="2528678495"/>
                    </a:ext>
                  </a:extLst>
                </a:gridCol>
              </a:tblGrid>
              <a:tr h="376859">
                <a:tc>
                  <a:txBody>
                    <a:bodyPr/>
                    <a:lstStyle/>
                    <a:p>
                      <a:pPr marL="0" marR="0">
                        <a:lnSpc>
                          <a:spcPct val="107000"/>
                        </a:lnSpc>
                        <a:spcBef>
                          <a:spcPts val="0"/>
                        </a:spcBef>
                        <a:spcAft>
                          <a:spcPts val="0"/>
                        </a:spcAft>
                      </a:pPr>
                      <a:r>
                        <a:rPr lang="en-US" sz="1800">
                          <a:effectLst/>
                        </a:rPr>
                        <a:t>Concept</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0" marR="0">
                        <a:lnSpc>
                          <a:spcPct val="107000"/>
                        </a:lnSpc>
                        <a:spcBef>
                          <a:spcPts val="0"/>
                        </a:spcBef>
                        <a:spcAft>
                          <a:spcPts val="0"/>
                        </a:spcAft>
                      </a:pPr>
                      <a:r>
                        <a:rPr lang="en-US" sz="1800" dirty="0">
                          <a:effectLst/>
                        </a:rPr>
                        <a:t>Descrip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3777594510"/>
                  </a:ext>
                </a:extLst>
              </a:tr>
              <a:tr h="1480095">
                <a:tc>
                  <a:txBody>
                    <a:bodyPr/>
                    <a:lstStyle/>
                    <a:p>
                      <a:pPr marL="0" marR="0">
                        <a:lnSpc>
                          <a:spcPct val="107000"/>
                        </a:lnSpc>
                        <a:spcBef>
                          <a:spcPts val="0"/>
                        </a:spcBef>
                        <a:spcAft>
                          <a:spcPts val="0"/>
                        </a:spcAft>
                      </a:pPr>
                      <a:r>
                        <a:rPr lang="en-US" sz="1800">
                          <a:effectLst/>
                        </a:rPr>
                        <a:t>API Models</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u="sng" dirty="0">
                          <a:effectLst/>
                        </a:rPr>
                        <a:t>SQL</a:t>
                      </a:r>
                      <a:r>
                        <a:rPr lang="en-US" sz="1200" dirty="0">
                          <a:effectLst/>
                        </a:rPr>
                        <a:t> </a:t>
                      </a:r>
                      <a:r>
                        <a:rPr lang="en-US" sz="1200" u="sng" dirty="0">
                          <a:effectLst/>
                        </a:rPr>
                        <a:t>API</a:t>
                      </a:r>
                      <a:r>
                        <a:rPr lang="en-US" sz="1200" dirty="0">
                          <a:effectLst/>
                        </a:rPr>
                        <a:t>: A schema-less JSON database engine with rich SQL querying capabilitie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MongoDB</a:t>
                      </a:r>
                      <a:r>
                        <a:rPr lang="en-US" sz="1200" dirty="0">
                          <a:effectLst/>
                        </a:rPr>
                        <a:t> </a:t>
                      </a:r>
                      <a:r>
                        <a:rPr lang="en-US" sz="1200" u="sng" dirty="0">
                          <a:effectLst/>
                        </a:rPr>
                        <a:t>API</a:t>
                      </a:r>
                      <a:r>
                        <a:rPr lang="en-US" sz="1200" dirty="0">
                          <a:effectLst/>
                        </a:rPr>
                        <a:t>: massively scalable MongoDB-as-a-service, compatible with MongoDB librarie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Cassandra</a:t>
                      </a:r>
                      <a:r>
                        <a:rPr lang="en-US" sz="1200" dirty="0">
                          <a:effectLst/>
                        </a:rPr>
                        <a:t> </a:t>
                      </a:r>
                      <a:r>
                        <a:rPr lang="en-US" sz="1200" u="sng" dirty="0">
                          <a:effectLst/>
                        </a:rPr>
                        <a:t>API</a:t>
                      </a:r>
                      <a:r>
                        <a:rPr lang="en-US" sz="1200" dirty="0">
                          <a:effectLst/>
                        </a:rPr>
                        <a:t>: globally distributed Cassandra-as-a service, compatible with Apache Cassandra libraries</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Gremlin</a:t>
                      </a:r>
                      <a:r>
                        <a:rPr lang="en-US" sz="1200" dirty="0">
                          <a:effectLst/>
                        </a:rPr>
                        <a:t> </a:t>
                      </a:r>
                      <a:r>
                        <a:rPr lang="en-US" sz="1200" u="sng" dirty="0">
                          <a:effectLst/>
                        </a:rPr>
                        <a:t>API</a:t>
                      </a:r>
                      <a:r>
                        <a:rPr lang="en-US" sz="1200" dirty="0">
                          <a:effectLst/>
                        </a:rPr>
                        <a:t>: fully managed horizontally scalable graph database service based on Apache </a:t>
                      </a:r>
                      <a:r>
                        <a:rPr lang="en-US" sz="1200" dirty="0" err="1">
                          <a:effectLst/>
                        </a:rPr>
                        <a:t>TinkerPop</a:t>
                      </a:r>
                      <a:r>
                        <a:rPr lang="en-US" sz="1200" dirty="0">
                          <a:effectLst/>
                        </a:rPr>
                        <a:t> spec</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Table</a:t>
                      </a:r>
                      <a:r>
                        <a:rPr lang="en-US" sz="1200" dirty="0">
                          <a:effectLst/>
                        </a:rPr>
                        <a:t> </a:t>
                      </a:r>
                      <a:r>
                        <a:rPr lang="en-US" sz="1200" u="sng" dirty="0">
                          <a:effectLst/>
                        </a:rPr>
                        <a:t>API</a:t>
                      </a:r>
                      <a:r>
                        <a:rPr lang="en-US" sz="1200" dirty="0">
                          <a:effectLst/>
                        </a:rPr>
                        <a:t>: key-value database service based on Azure Table Servic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3023416651"/>
                  </a:ext>
                </a:extLst>
              </a:tr>
              <a:tr h="1740981">
                <a:tc>
                  <a:txBody>
                    <a:bodyPr/>
                    <a:lstStyle/>
                    <a:p>
                      <a:pPr marL="0" marR="0">
                        <a:lnSpc>
                          <a:spcPct val="107000"/>
                        </a:lnSpc>
                        <a:spcBef>
                          <a:spcPts val="0"/>
                        </a:spcBef>
                        <a:spcAft>
                          <a:spcPts val="0"/>
                        </a:spcAft>
                      </a:pPr>
                      <a:r>
                        <a:rPr lang="en-US" sz="1800">
                          <a:effectLst/>
                        </a:rPr>
                        <a:t>Security</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rPr>
                        <a:t>All data encrypted at rest and in transit with Microsoft managed keys only</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Master keys are used for full administrative access </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Resource tokens are used for resource access such as collections by creating users and granting permission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Users are associated with a Cosmos DB database</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Permission resources are associated with a Cosmos DB user scoped to a resource or set of resourc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2504959465"/>
                  </a:ext>
                </a:extLst>
              </a:tr>
              <a:tr h="928479">
                <a:tc>
                  <a:txBody>
                    <a:bodyPr/>
                    <a:lstStyle/>
                    <a:p>
                      <a:pPr marL="0" marR="0">
                        <a:lnSpc>
                          <a:spcPct val="107000"/>
                        </a:lnSpc>
                        <a:spcBef>
                          <a:spcPts val="0"/>
                        </a:spcBef>
                        <a:spcAft>
                          <a:spcPts val="0"/>
                        </a:spcAft>
                      </a:pPr>
                      <a:r>
                        <a:rPr lang="en-US" sz="1800">
                          <a:effectLst/>
                        </a:rPr>
                        <a:t>Azure Integration</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rPr>
                        <a:t>Direct, private routing from VNETs using service endpoint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Restrict network access to specific VNETs within Azure</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Restrict network access by public IP rang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2799493221"/>
                  </a:ext>
                </a:extLst>
              </a:tr>
              <a:tr h="652668">
                <a:tc>
                  <a:txBody>
                    <a:bodyPr/>
                    <a:lstStyle/>
                    <a:p>
                      <a:pPr marL="0" marR="0">
                        <a:lnSpc>
                          <a:spcPct val="107000"/>
                        </a:lnSpc>
                        <a:spcBef>
                          <a:spcPts val="0"/>
                        </a:spcBef>
                        <a:spcAft>
                          <a:spcPts val="0"/>
                        </a:spcAft>
                      </a:pPr>
                      <a:r>
                        <a:rPr lang="en-US" sz="1800" dirty="0">
                          <a:effectLst/>
                        </a:rPr>
                        <a:t>Cost Mode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u="sng" dirty="0">
                          <a:effectLst/>
                        </a:rPr>
                        <a:t>SSD Storage</a:t>
                      </a:r>
                      <a:r>
                        <a:rPr lang="en-US" sz="1200" dirty="0">
                          <a:effectLst/>
                        </a:rPr>
                        <a:t>: $0.25/GB/month</a:t>
                      </a:r>
                    </a:p>
                    <a:p>
                      <a:pPr marL="342900" marR="0" lvl="0" indent="-342900">
                        <a:lnSpc>
                          <a:spcPct val="107000"/>
                        </a:lnSpc>
                        <a:spcBef>
                          <a:spcPts val="0"/>
                        </a:spcBef>
                        <a:spcAft>
                          <a:spcPts val="0"/>
                        </a:spcAft>
                        <a:buFont typeface="Symbol" panose="05050102010706020507" pitchFamily="18" charset="2"/>
                        <a:buChar char=""/>
                      </a:pPr>
                      <a:r>
                        <a:rPr lang="en-US" sz="1200" u="sng" dirty="0">
                          <a:effectLst/>
                        </a:rPr>
                        <a:t>Reserved RUs/second (per 100 Rus, 400 RUs minimum)</a:t>
                      </a:r>
                      <a:r>
                        <a:rPr lang="en-US" sz="1200" dirty="0">
                          <a:effectLst/>
                        </a:rPr>
                        <a:t>: $0.008/hour</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0200" marR="40200" marT="20275" marB="20275"/>
                </a:tc>
                <a:extLst>
                  <a:ext uri="{0D108BD9-81ED-4DB2-BD59-A6C34878D82A}">
                    <a16:rowId xmlns:a16="http://schemas.microsoft.com/office/drawing/2014/main" val="40196593"/>
                  </a:ext>
                </a:extLst>
              </a:tr>
            </a:tbl>
          </a:graphicData>
        </a:graphic>
      </p:graphicFrame>
    </p:spTree>
    <p:extLst>
      <p:ext uri="{BB962C8B-B14F-4D97-AF65-F5344CB8AC3E}">
        <p14:creationId xmlns:p14="http://schemas.microsoft.com/office/powerpoint/2010/main" val="94617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Data Catalog Summa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C3D4A0A9-6821-4FB5-83AA-D85CDEF8BC8A}"/>
              </a:ext>
            </a:extLst>
          </p:cNvPr>
          <p:cNvGraphicFramePr>
            <a:graphicFrameLocks noGrp="1"/>
          </p:cNvGraphicFramePr>
          <p:nvPr>
            <p:extLst>
              <p:ext uri="{D42A27DB-BD31-4B8C-83A1-F6EECF244321}">
                <p14:modId xmlns:p14="http://schemas.microsoft.com/office/powerpoint/2010/main" val="3524288149"/>
              </p:ext>
            </p:extLst>
          </p:nvPr>
        </p:nvGraphicFramePr>
        <p:xfrm>
          <a:off x="773189" y="1709198"/>
          <a:ext cx="10890096" cy="3957296"/>
        </p:xfrm>
        <a:graphic>
          <a:graphicData uri="http://schemas.openxmlformats.org/drawingml/2006/table">
            <a:tbl>
              <a:tblPr firstRow="1" firstCol="1" bandRow="1">
                <a:tableStyleId>{5C22544A-7EE6-4342-B048-85BDC9FD1C3A}</a:tableStyleId>
              </a:tblPr>
              <a:tblGrid>
                <a:gridCol w="2247201">
                  <a:extLst>
                    <a:ext uri="{9D8B030D-6E8A-4147-A177-3AD203B41FA5}">
                      <a16:colId xmlns:a16="http://schemas.microsoft.com/office/drawing/2014/main" val="2827899608"/>
                    </a:ext>
                  </a:extLst>
                </a:gridCol>
                <a:gridCol w="8642895">
                  <a:extLst>
                    <a:ext uri="{9D8B030D-6E8A-4147-A177-3AD203B41FA5}">
                      <a16:colId xmlns:a16="http://schemas.microsoft.com/office/drawing/2014/main" val="723488"/>
                    </a:ext>
                  </a:extLst>
                </a:gridCol>
              </a:tblGrid>
              <a:tr h="499357">
                <a:tc>
                  <a:txBody>
                    <a:bodyPr/>
                    <a:lstStyle/>
                    <a:p>
                      <a:pPr marL="0" marR="0">
                        <a:lnSpc>
                          <a:spcPct val="107000"/>
                        </a:lnSpc>
                        <a:spcBef>
                          <a:spcPts val="0"/>
                        </a:spcBef>
                        <a:spcAft>
                          <a:spcPts val="0"/>
                        </a:spcAft>
                      </a:pPr>
                      <a:r>
                        <a:rPr lang="en-US" sz="1800">
                          <a:effectLst/>
                        </a:rPr>
                        <a:t>Concept</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tc>
                  <a:txBody>
                    <a:bodyPr/>
                    <a:lstStyle/>
                    <a:p>
                      <a:pPr marL="0" marR="0">
                        <a:lnSpc>
                          <a:spcPct val="107000"/>
                        </a:lnSpc>
                        <a:spcBef>
                          <a:spcPts val="0"/>
                        </a:spcBef>
                        <a:spcAft>
                          <a:spcPts val="0"/>
                        </a:spcAft>
                      </a:pPr>
                      <a:r>
                        <a:rPr lang="en-US" sz="1800" dirty="0">
                          <a:effectLst/>
                        </a:rPr>
                        <a:t>Descrip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extLst>
                  <a:ext uri="{0D108BD9-81ED-4DB2-BD59-A6C34878D82A}">
                    <a16:rowId xmlns:a16="http://schemas.microsoft.com/office/drawing/2014/main" val="1829062437"/>
                  </a:ext>
                </a:extLst>
              </a:tr>
              <a:tr h="1393034">
                <a:tc>
                  <a:txBody>
                    <a:bodyPr/>
                    <a:lstStyle/>
                    <a:p>
                      <a:pPr marL="0" marR="0">
                        <a:lnSpc>
                          <a:spcPct val="107000"/>
                        </a:lnSpc>
                        <a:spcBef>
                          <a:spcPts val="0"/>
                        </a:spcBef>
                        <a:spcAft>
                          <a:spcPts val="0"/>
                        </a:spcAft>
                      </a:pPr>
                      <a:r>
                        <a:rPr lang="en-US" sz="1800">
                          <a:effectLst/>
                        </a:rPr>
                        <a:t>Service Features</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rPr>
                        <a:t>Register data sources via connection string for management and discovery</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Allow data consumers to annotate data with tags and metadata via crowdsourcing model </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Align documentation to registered data source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Restrict access to who can discover data sources and access connection string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Enable searching of metadata for finding data sources and to search data sources directly to peek at datase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extLst>
                  <a:ext uri="{0D108BD9-81ED-4DB2-BD59-A6C34878D82A}">
                    <a16:rowId xmlns:a16="http://schemas.microsoft.com/office/drawing/2014/main" val="1001420180"/>
                  </a:ext>
                </a:extLst>
              </a:tr>
              <a:tr h="1193074">
                <a:tc>
                  <a:txBody>
                    <a:bodyPr/>
                    <a:lstStyle/>
                    <a:p>
                      <a:pPr marL="0" marR="0">
                        <a:lnSpc>
                          <a:spcPct val="107000"/>
                        </a:lnSpc>
                        <a:spcBef>
                          <a:spcPts val="0"/>
                        </a:spcBef>
                        <a:spcAft>
                          <a:spcPts val="0"/>
                        </a:spcAft>
                      </a:pPr>
                      <a:r>
                        <a:rPr lang="en-US" sz="1800">
                          <a:effectLst/>
                        </a:rPr>
                        <a:t>Integrated Client Apps</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rPr>
                        <a:t>Excel (</a:t>
                      </a:r>
                      <a:r>
                        <a:rPr lang="en-US" sz="1200" dirty="0" err="1">
                          <a:effectLst/>
                        </a:rPr>
                        <a:t>PowerQuery</a:t>
                      </a:r>
                      <a:r>
                        <a:rPr lang="en-US" sz="1200" dirty="0">
                          <a:effectLst/>
                        </a:rPr>
                        <a:t>)</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Power BI Desktop</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SQL Server Data Tool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Report Manager</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extLst>
                  <a:ext uri="{0D108BD9-81ED-4DB2-BD59-A6C34878D82A}">
                    <a16:rowId xmlns:a16="http://schemas.microsoft.com/office/drawing/2014/main" val="2095747612"/>
                  </a:ext>
                </a:extLst>
              </a:tr>
              <a:tr h="871831">
                <a:tc>
                  <a:txBody>
                    <a:bodyPr/>
                    <a:lstStyle/>
                    <a:p>
                      <a:pPr marL="0" marR="0">
                        <a:lnSpc>
                          <a:spcPct val="107000"/>
                        </a:lnSpc>
                        <a:spcBef>
                          <a:spcPts val="0"/>
                        </a:spcBef>
                        <a:spcAft>
                          <a:spcPts val="0"/>
                        </a:spcAft>
                      </a:pPr>
                      <a:r>
                        <a:rPr lang="en-US" sz="1800" dirty="0">
                          <a:effectLst/>
                        </a:rPr>
                        <a:t>Cost Mode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rPr>
                        <a:t>Free Tier: unlimited users, 5k catalog objects</a:t>
                      </a:r>
                    </a:p>
                    <a:p>
                      <a:pPr marL="342900" marR="0" lvl="0" indent="-342900">
                        <a:lnSpc>
                          <a:spcPct val="107000"/>
                        </a:lnSpc>
                        <a:spcBef>
                          <a:spcPts val="0"/>
                        </a:spcBef>
                        <a:spcAft>
                          <a:spcPts val="0"/>
                        </a:spcAft>
                        <a:buFont typeface="Symbol" panose="05050102010706020507" pitchFamily="18" charset="2"/>
                        <a:buChar char=""/>
                      </a:pPr>
                      <a:r>
                        <a:rPr lang="en-US" sz="1200" dirty="0">
                          <a:effectLst/>
                        </a:rPr>
                        <a:t>Standard: $1/user/month, unlimited users, 100k catalog objec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3254" marR="63254" marT="31902" marB="31902"/>
                </a:tc>
                <a:extLst>
                  <a:ext uri="{0D108BD9-81ED-4DB2-BD59-A6C34878D82A}">
                    <a16:rowId xmlns:a16="http://schemas.microsoft.com/office/drawing/2014/main" val="1403510304"/>
                  </a:ext>
                </a:extLst>
              </a:tr>
            </a:tbl>
          </a:graphicData>
        </a:graphic>
      </p:graphicFrame>
      <p:sp>
        <p:nvSpPr>
          <p:cNvPr id="5" name="TextBox 4">
            <a:extLst>
              <a:ext uri="{FF2B5EF4-FFF2-40B4-BE49-F238E27FC236}">
                <a16:creationId xmlns:a16="http://schemas.microsoft.com/office/drawing/2014/main" id="{103FC4D1-DB6A-40ED-B173-54E9503F61A7}"/>
              </a:ext>
            </a:extLst>
          </p:cNvPr>
          <p:cNvSpPr txBox="1"/>
          <p:nvPr/>
        </p:nvSpPr>
        <p:spPr>
          <a:xfrm>
            <a:off x="884" y="805809"/>
            <a:ext cx="1243559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latin typeface="+mj-lt"/>
              </a:rPr>
              <a:t>A crowdsourcing model of metadata and annotations for enterprise data sources.</a:t>
            </a:r>
          </a:p>
        </p:txBody>
      </p:sp>
    </p:spTree>
    <p:extLst>
      <p:ext uri="{BB962C8B-B14F-4D97-AF65-F5344CB8AC3E}">
        <p14:creationId xmlns:p14="http://schemas.microsoft.com/office/powerpoint/2010/main" val="173792652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Data Factory Summa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5" name="Table 4">
            <a:extLst>
              <a:ext uri="{FF2B5EF4-FFF2-40B4-BE49-F238E27FC236}">
                <a16:creationId xmlns:a16="http://schemas.microsoft.com/office/drawing/2014/main" id="{071F0856-160A-4868-B234-95A419A97584}"/>
              </a:ext>
            </a:extLst>
          </p:cNvPr>
          <p:cNvGraphicFramePr>
            <a:graphicFrameLocks noGrp="1"/>
          </p:cNvGraphicFramePr>
          <p:nvPr>
            <p:extLst>
              <p:ext uri="{D42A27DB-BD31-4B8C-83A1-F6EECF244321}">
                <p14:modId xmlns:p14="http://schemas.microsoft.com/office/powerpoint/2010/main" val="2236323099"/>
              </p:ext>
            </p:extLst>
          </p:nvPr>
        </p:nvGraphicFramePr>
        <p:xfrm>
          <a:off x="742064" y="1466829"/>
          <a:ext cx="10952346" cy="5362805"/>
        </p:xfrm>
        <a:graphic>
          <a:graphicData uri="http://schemas.openxmlformats.org/drawingml/2006/table">
            <a:tbl>
              <a:tblPr firstRow="1" firstCol="1" bandRow="1">
                <a:tableStyleId>{5C22544A-7EE6-4342-B048-85BDC9FD1C3A}</a:tableStyleId>
              </a:tblPr>
              <a:tblGrid>
                <a:gridCol w="2260045">
                  <a:extLst>
                    <a:ext uri="{9D8B030D-6E8A-4147-A177-3AD203B41FA5}">
                      <a16:colId xmlns:a16="http://schemas.microsoft.com/office/drawing/2014/main" val="3521551062"/>
                    </a:ext>
                  </a:extLst>
                </a:gridCol>
                <a:gridCol w="8692301">
                  <a:extLst>
                    <a:ext uri="{9D8B030D-6E8A-4147-A177-3AD203B41FA5}">
                      <a16:colId xmlns:a16="http://schemas.microsoft.com/office/drawing/2014/main" val="170302224"/>
                    </a:ext>
                  </a:extLst>
                </a:gridCol>
              </a:tblGrid>
              <a:tr h="271267">
                <a:tc>
                  <a:txBody>
                    <a:bodyPr/>
                    <a:lstStyle/>
                    <a:p>
                      <a:pPr marL="0" marR="0">
                        <a:lnSpc>
                          <a:spcPct val="107000"/>
                        </a:lnSpc>
                        <a:spcBef>
                          <a:spcPts val="0"/>
                        </a:spcBef>
                        <a:spcAft>
                          <a:spcPts val="0"/>
                        </a:spcAft>
                      </a:pPr>
                      <a:r>
                        <a:rPr lang="en-US" sz="1800">
                          <a:effectLst/>
                        </a:rPr>
                        <a:t>Concept</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0" marR="0">
                        <a:lnSpc>
                          <a:spcPct val="107000"/>
                        </a:lnSpc>
                        <a:spcBef>
                          <a:spcPts val="0"/>
                        </a:spcBef>
                        <a:spcAft>
                          <a:spcPts val="0"/>
                        </a:spcAft>
                      </a:pPr>
                      <a:r>
                        <a:rPr lang="en-US" sz="1800" dirty="0">
                          <a:effectLst/>
                        </a:rPr>
                        <a:t>Descrip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1436751176"/>
                  </a:ext>
                </a:extLst>
              </a:tr>
              <a:tr h="1450734">
                <a:tc>
                  <a:txBody>
                    <a:bodyPr/>
                    <a:lstStyle/>
                    <a:p>
                      <a:pPr marL="0" marR="0">
                        <a:lnSpc>
                          <a:spcPct val="107000"/>
                        </a:lnSpc>
                        <a:spcBef>
                          <a:spcPts val="0"/>
                        </a:spcBef>
                        <a:spcAft>
                          <a:spcPts val="0"/>
                        </a:spcAft>
                      </a:pPr>
                      <a:r>
                        <a:rPr lang="en-US" sz="1800" dirty="0">
                          <a:effectLst/>
                        </a:rPr>
                        <a:t>Service Componen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100" u="sng">
                          <a:effectLst/>
                        </a:rPr>
                        <a:t>Pipeline</a:t>
                      </a:r>
                      <a:r>
                        <a:rPr lang="en-US" sz="1100">
                          <a:effectLst/>
                        </a:rPr>
                        <a:t>: a logical grouping of activities that perform a unit of work to transfer and process data</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Activity</a:t>
                      </a:r>
                      <a:r>
                        <a:rPr lang="en-US" sz="1100">
                          <a:effectLst/>
                        </a:rPr>
                        <a:t>: represents a processing step in a pipeline, such as a copy activity to move data from source to dest.</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Datasets</a:t>
                      </a:r>
                      <a:r>
                        <a:rPr lang="en-US" sz="1100">
                          <a:effectLst/>
                        </a:rPr>
                        <a:t>: the data structures that reference the data you use in your activities as inputs or outputs</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Linked</a:t>
                      </a:r>
                      <a:r>
                        <a:rPr lang="en-US" sz="1100">
                          <a:effectLst/>
                        </a:rPr>
                        <a:t> </a:t>
                      </a:r>
                      <a:r>
                        <a:rPr lang="en-US" sz="1100" u="sng">
                          <a:effectLst/>
                        </a:rPr>
                        <a:t>Services</a:t>
                      </a:r>
                      <a:r>
                        <a:rPr lang="en-US" sz="1100">
                          <a:effectLst/>
                        </a:rPr>
                        <a:t>:  connection strings for external sources that are used in the pipeline</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Triggers</a:t>
                      </a:r>
                      <a:r>
                        <a:rPr lang="en-US" sz="1100">
                          <a:effectLst/>
                        </a:rPr>
                        <a:t>: the unit of processing that kicks off pipeline execution</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Runs</a:t>
                      </a:r>
                      <a:r>
                        <a:rPr lang="en-US" sz="1100">
                          <a:effectLst/>
                        </a:rPr>
                        <a:t>: an instance of the pipeline execution</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Parameters</a:t>
                      </a:r>
                      <a:r>
                        <a:rPr lang="en-US" sz="1100">
                          <a:effectLst/>
                        </a:rPr>
                        <a:t>: key-value pairs that are passed to instantiate the run</a:t>
                      </a:r>
                    </a:p>
                    <a:p>
                      <a:pPr marL="342900" marR="0" lvl="0" indent="-342900">
                        <a:lnSpc>
                          <a:spcPct val="107000"/>
                        </a:lnSpc>
                        <a:spcBef>
                          <a:spcPts val="0"/>
                        </a:spcBef>
                        <a:spcAft>
                          <a:spcPts val="0"/>
                        </a:spcAft>
                        <a:buFont typeface="Symbol" panose="05050102010706020507" pitchFamily="18" charset="2"/>
                        <a:buChar char=""/>
                      </a:pPr>
                      <a:r>
                        <a:rPr lang="en-US" sz="1100" u="sng">
                          <a:effectLst/>
                        </a:rPr>
                        <a:t>Control</a:t>
                      </a:r>
                      <a:r>
                        <a:rPr lang="en-US" sz="1100">
                          <a:effectLst/>
                        </a:rPr>
                        <a:t> </a:t>
                      </a:r>
                      <a:r>
                        <a:rPr lang="en-US" sz="1100" u="sng">
                          <a:effectLst/>
                        </a:rPr>
                        <a:t>Flow</a:t>
                      </a:r>
                      <a:r>
                        <a:rPr lang="en-US" sz="1100">
                          <a:effectLst/>
                        </a:rPr>
                        <a:t>: an orchestration of pipeline activities in sequence, branching or other flow configuratio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2860148176"/>
                  </a:ext>
                </a:extLst>
              </a:tr>
              <a:tr h="1053707">
                <a:tc>
                  <a:txBody>
                    <a:bodyPr/>
                    <a:lstStyle/>
                    <a:p>
                      <a:pPr marL="0" marR="0">
                        <a:lnSpc>
                          <a:spcPct val="107000"/>
                        </a:lnSpc>
                        <a:spcBef>
                          <a:spcPts val="0"/>
                        </a:spcBef>
                        <a:spcAft>
                          <a:spcPts val="0"/>
                        </a:spcAft>
                      </a:pPr>
                      <a:r>
                        <a:rPr lang="en-US" sz="1800">
                          <a:effectLst/>
                        </a:rPr>
                        <a:t>Tumbling Window Trigger</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100">
                          <a:effectLst/>
                        </a:rPr>
                        <a:t>A trigger that operates on a periodic interval while also retaining state</a:t>
                      </a:r>
                    </a:p>
                    <a:p>
                      <a:pPr marL="342900" marR="0" lvl="0" indent="-342900">
                        <a:lnSpc>
                          <a:spcPct val="107000"/>
                        </a:lnSpc>
                        <a:spcBef>
                          <a:spcPts val="0"/>
                        </a:spcBef>
                        <a:spcAft>
                          <a:spcPts val="0"/>
                        </a:spcAft>
                        <a:buFont typeface="Symbol" panose="05050102010706020507" pitchFamily="18" charset="2"/>
                        <a:buChar char=""/>
                      </a:pPr>
                      <a:r>
                        <a:rPr lang="en-US" sz="1100">
                          <a:effectLst/>
                        </a:rPr>
                        <a:t>100 % reliability</a:t>
                      </a:r>
                    </a:p>
                    <a:p>
                      <a:pPr marL="342900" marR="0" lvl="0" indent="-342900">
                        <a:lnSpc>
                          <a:spcPct val="107000"/>
                        </a:lnSpc>
                        <a:spcBef>
                          <a:spcPts val="0"/>
                        </a:spcBef>
                        <a:spcAft>
                          <a:spcPts val="0"/>
                        </a:spcAft>
                        <a:buFont typeface="Symbol" panose="05050102010706020507" pitchFamily="18" charset="2"/>
                        <a:buChar char=""/>
                      </a:pPr>
                      <a:r>
                        <a:rPr lang="en-US" sz="1100">
                          <a:effectLst/>
                        </a:rPr>
                        <a:t>Retry supported</a:t>
                      </a:r>
                    </a:p>
                    <a:p>
                      <a:pPr marL="342900" marR="0" lvl="0" indent="-342900">
                        <a:lnSpc>
                          <a:spcPct val="107000"/>
                        </a:lnSpc>
                        <a:spcBef>
                          <a:spcPts val="0"/>
                        </a:spcBef>
                        <a:spcAft>
                          <a:spcPts val="0"/>
                        </a:spcAft>
                        <a:buFont typeface="Symbol" panose="05050102010706020507" pitchFamily="18" charset="2"/>
                        <a:buChar char=""/>
                      </a:pPr>
                      <a:r>
                        <a:rPr lang="en-US" sz="1100">
                          <a:effectLst/>
                        </a:rPr>
                        <a:t>Concurrency support</a:t>
                      </a:r>
                    </a:p>
                    <a:p>
                      <a:pPr marL="342900" marR="0" lvl="0" indent="-342900">
                        <a:lnSpc>
                          <a:spcPct val="107000"/>
                        </a:lnSpc>
                        <a:spcBef>
                          <a:spcPts val="0"/>
                        </a:spcBef>
                        <a:spcAft>
                          <a:spcPts val="0"/>
                        </a:spcAft>
                        <a:buFont typeface="Symbol" panose="05050102010706020507" pitchFamily="18" charset="2"/>
                        <a:buChar char=""/>
                      </a:pPr>
                      <a:r>
                        <a:rPr lang="en-US" sz="1100">
                          <a:effectLst/>
                        </a:rPr>
                        <a:t>Supports WindowStart and WindowEnd variables</a:t>
                      </a:r>
                    </a:p>
                    <a:p>
                      <a:pPr marL="342900" marR="0" lvl="0" indent="-342900">
                        <a:lnSpc>
                          <a:spcPct val="107000"/>
                        </a:lnSpc>
                        <a:spcBef>
                          <a:spcPts val="0"/>
                        </a:spcBef>
                        <a:spcAft>
                          <a:spcPts val="0"/>
                        </a:spcAft>
                        <a:buFont typeface="Symbol" panose="05050102010706020507" pitchFamily="18" charset="2"/>
                        <a:buChar char=""/>
                      </a:pPr>
                      <a:r>
                        <a:rPr lang="en-US" sz="1100">
                          <a:effectLst/>
                        </a:rPr>
                        <a:t>Only one pipeline can be triggered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1634023155"/>
                  </a:ext>
                </a:extLst>
              </a:tr>
              <a:tr h="707951">
                <a:tc>
                  <a:txBody>
                    <a:bodyPr/>
                    <a:lstStyle/>
                    <a:p>
                      <a:pPr marL="0" marR="0">
                        <a:lnSpc>
                          <a:spcPct val="107000"/>
                        </a:lnSpc>
                        <a:spcBef>
                          <a:spcPts val="0"/>
                        </a:spcBef>
                        <a:spcAft>
                          <a:spcPts val="0"/>
                        </a:spcAft>
                      </a:pPr>
                      <a:r>
                        <a:rPr lang="en-US" sz="1800">
                          <a:effectLst/>
                        </a:rPr>
                        <a:t>Schedule Trigger</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100">
                          <a:effectLst/>
                        </a:rPr>
                        <a:t>A trigger that invokes a pipeline on a wall-clock schedule</a:t>
                      </a:r>
                    </a:p>
                    <a:p>
                      <a:pPr marL="342900" marR="0" lvl="0" indent="-342900">
                        <a:lnSpc>
                          <a:spcPct val="107000"/>
                        </a:lnSpc>
                        <a:spcBef>
                          <a:spcPts val="0"/>
                        </a:spcBef>
                        <a:spcAft>
                          <a:spcPts val="0"/>
                        </a:spcAft>
                        <a:buFont typeface="Symbol" panose="05050102010706020507" pitchFamily="18" charset="2"/>
                        <a:buChar char=""/>
                      </a:pPr>
                      <a:r>
                        <a:rPr lang="en-US" sz="1100">
                          <a:effectLst/>
                        </a:rPr>
                        <a:t>Less reliable</a:t>
                      </a:r>
                    </a:p>
                    <a:p>
                      <a:pPr marL="342900" marR="0" lvl="0" indent="-342900">
                        <a:lnSpc>
                          <a:spcPct val="107000"/>
                        </a:lnSpc>
                        <a:spcBef>
                          <a:spcPts val="0"/>
                        </a:spcBef>
                        <a:spcAft>
                          <a:spcPts val="0"/>
                        </a:spcAft>
                        <a:buFont typeface="Symbol" panose="05050102010706020507" pitchFamily="18" charset="2"/>
                        <a:buChar char=""/>
                      </a:pPr>
                      <a:r>
                        <a:rPr lang="en-US" sz="1100">
                          <a:effectLst/>
                        </a:rPr>
                        <a:t>No support for retry, concurrency, system variables</a:t>
                      </a:r>
                    </a:p>
                    <a:p>
                      <a:pPr marL="342900" marR="0" lvl="0" indent="-342900">
                        <a:lnSpc>
                          <a:spcPct val="107000"/>
                        </a:lnSpc>
                        <a:spcBef>
                          <a:spcPts val="0"/>
                        </a:spcBef>
                        <a:spcAft>
                          <a:spcPts val="0"/>
                        </a:spcAft>
                        <a:buFont typeface="Symbol" panose="05050102010706020507" pitchFamily="18" charset="2"/>
                        <a:buChar char=""/>
                      </a:pPr>
                      <a:r>
                        <a:rPr lang="en-US" sz="1100">
                          <a:effectLst/>
                        </a:rPr>
                        <a:t>A single trigger can kick off multiple pipeline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313038028"/>
                  </a:ext>
                </a:extLst>
              </a:tr>
              <a:tr h="1031712">
                <a:tc>
                  <a:txBody>
                    <a:bodyPr/>
                    <a:lstStyle/>
                    <a:p>
                      <a:pPr marL="0" marR="0">
                        <a:lnSpc>
                          <a:spcPct val="107000"/>
                        </a:lnSpc>
                        <a:spcBef>
                          <a:spcPts val="0"/>
                        </a:spcBef>
                        <a:spcAft>
                          <a:spcPts val="0"/>
                        </a:spcAft>
                      </a:pPr>
                      <a:r>
                        <a:rPr lang="en-US" sz="1800">
                          <a:effectLst/>
                        </a:rPr>
                        <a:t>Integration Runtim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rPr>
                        <a:t>Compute infrastructure manually configured for use by Data Factory to integrate external services</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Can run in Azure VNET, or on-prem (self-hosted)</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Enables on-prem data access using data gateway service</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Dispatch and monitor transformation activities for Azure compute services like HDInsight and SQL Database</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Natively execute SQL Server Integration Services (SSIS) packages in a managed compute environment</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1006013145"/>
                  </a:ext>
                </a:extLst>
              </a:tr>
              <a:tr h="707951">
                <a:tc>
                  <a:txBody>
                    <a:bodyPr/>
                    <a:lstStyle/>
                    <a:p>
                      <a:pPr marL="0" marR="0">
                        <a:lnSpc>
                          <a:spcPct val="107000"/>
                        </a:lnSpc>
                        <a:spcBef>
                          <a:spcPts val="0"/>
                        </a:spcBef>
                        <a:spcAft>
                          <a:spcPts val="0"/>
                        </a:spcAft>
                      </a:pPr>
                      <a:r>
                        <a:rPr lang="en-US" sz="1800" dirty="0">
                          <a:effectLst/>
                        </a:rPr>
                        <a:t>Cost Mode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tc>
                  <a: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rPr>
                        <a:t>Inactive Pipelines (not associated with a trigger): $0.40/ month</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Data movement with Azure integration runtime: $0.125/hour</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Data movements with self-hosted runtime: $0.05/hour</a:t>
                      </a:r>
                    </a:p>
                    <a:p>
                      <a:pPr marL="342900" marR="0" lvl="0" indent="-342900">
                        <a:lnSpc>
                          <a:spcPct val="107000"/>
                        </a:lnSpc>
                        <a:spcBef>
                          <a:spcPts val="0"/>
                        </a:spcBef>
                        <a:spcAft>
                          <a:spcPts val="0"/>
                        </a:spcAft>
                        <a:buFont typeface="Symbol" panose="05050102010706020507" pitchFamily="18" charset="2"/>
                        <a:buChar char=""/>
                      </a:pPr>
                      <a:r>
                        <a:rPr lang="en-US" sz="1100" dirty="0">
                          <a:effectLst/>
                        </a:rPr>
                        <a:t>Orchestrator: free while in preview</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8205" marR="28205" marT="14225" marB="14225"/>
                </a:tc>
                <a:extLst>
                  <a:ext uri="{0D108BD9-81ED-4DB2-BD59-A6C34878D82A}">
                    <a16:rowId xmlns:a16="http://schemas.microsoft.com/office/drawing/2014/main" val="4014332284"/>
                  </a:ext>
                </a:extLst>
              </a:tr>
            </a:tbl>
          </a:graphicData>
        </a:graphic>
      </p:graphicFrame>
      <p:sp>
        <p:nvSpPr>
          <p:cNvPr id="2" name="TextBox 1">
            <a:extLst>
              <a:ext uri="{FF2B5EF4-FFF2-40B4-BE49-F238E27FC236}">
                <a16:creationId xmlns:a16="http://schemas.microsoft.com/office/drawing/2014/main" id="{DD23F7A5-CBBA-4489-BC48-FAF863C7D78B}"/>
              </a:ext>
            </a:extLst>
          </p:cNvPr>
          <p:cNvSpPr txBox="1"/>
          <p:nvPr/>
        </p:nvSpPr>
        <p:spPr>
          <a:xfrm>
            <a:off x="884" y="805809"/>
            <a:ext cx="1243559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latin typeface="+mj-lt"/>
              </a:rPr>
              <a:t>A data integration service enabling data-driven workflows for orchestrating data movement and transformation.</a:t>
            </a:r>
          </a:p>
        </p:txBody>
      </p:sp>
    </p:spTree>
    <p:extLst>
      <p:ext uri="{BB962C8B-B14F-4D97-AF65-F5344CB8AC3E}">
        <p14:creationId xmlns:p14="http://schemas.microsoft.com/office/powerpoint/2010/main" val="284666907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1936</TotalTime>
  <Words>8021</Words>
  <Application>Microsoft Office PowerPoint</Application>
  <PresentationFormat>Custom</PresentationFormat>
  <Paragraphs>1310</Paragraphs>
  <Slides>76</Slides>
  <Notes>76</Notes>
  <HiddenSlides>0</HiddenSlides>
  <MMClips>0</MMClips>
  <ScaleCrop>false</ScaleCrop>
  <HeadingPairs>
    <vt:vector size="8" baseType="variant">
      <vt:variant>
        <vt:lpstr>Fonts Used</vt:lpstr>
      </vt:variant>
      <vt:variant>
        <vt:i4>23</vt:i4>
      </vt:variant>
      <vt:variant>
        <vt:lpstr>Theme</vt:lpstr>
      </vt:variant>
      <vt:variant>
        <vt:i4>32</vt:i4>
      </vt:variant>
      <vt:variant>
        <vt:lpstr>Embedded OLE Servers</vt:lpstr>
      </vt:variant>
      <vt:variant>
        <vt:i4>1</vt:i4>
      </vt:variant>
      <vt:variant>
        <vt:lpstr>Slide Titles</vt:lpstr>
      </vt:variant>
      <vt:variant>
        <vt:i4>76</vt:i4>
      </vt:variant>
    </vt:vector>
  </HeadingPairs>
  <TitlesOfParts>
    <vt:vector size="132"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Symbol</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Design Data Implementation</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ohn Ferrari</cp:lastModifiedBy>
  <cp:revision>369</cp:revision>
  <cp:lastPrinted>2016-01-18T01:17:12Z</cp:lastPrinted>
  <dcterms:created xsi:type="dcterms:W3CDTF">2015-10-04T02:15:29Z</dcterms:created>
  <dcterms:modified xsi:type="dcterms:W3CDTF">2018-06-10T18: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